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heme/theme2.xml" ContentType="application/vnd.openxmlformats-officedocument.theme+xml"/>
  <Override PartName="/ppt/tags/tag82.xml" ContentType="application/vnd.openxmlformats-officedocument.presentationml.tags+xml"/>
  <Override PartName="/ppt/notesSlides/notesSlide1.xml" ContentType="application/vnd.openxmlformats-officedocument.presentationml.notesSlide+xml"/>
  <Override PartName="/ppt/tags/tag83.xml" ContentType="application/vnd.openxmlformats-officedocument.presentationml.tags+xml"/>
  <Override PartName="/ppt/notesSlides/notesSlide2.xml" ContentType="application/vnd.openxmlformats-officedocument.presentationml.notesSlide+xml"/>
  <Override PartName="/ppt/tags/tag84.xml" ContentType="application/vnd.openxmlformats-officedocument.presentationml.tags+xml"/>
  <Override PartName="/ppt/notesSlides/notesSlide3.xml" ContentType="application/vnd.openxmlformats-officedocument.presentationml.notesSlide+xml"/>
  <Override PartName="/ppt/tags/tag85.xml" ContentType="application/vnd.openxmlformats-officedocument.presentationml.tags+xml"/>
  <Override PartName="/ppt/notesSlides/notesSlide4.xml" ContentType="application/vnd.openxmlformats-officedocument.presentationml.notesSlide+xml"/>
  <Override PartName="/ppt/tags/tag86.xml" ContentType="application/vnd.openxmlformats-officedocument.presentationml.tags+xml"/>
  <Override PartName="/ppt/notesSlides/notesSlide5.xml" ContentType="application/vnd.openxmlformats-officedocument.presentationml.notesSlide+xml"/>
  <Override PartName="/ppt/tags/tag87.xml" ContentType="application/vnd.openxmlformats-officedocument.presentationml.tags+xml"/>
  <Override PartName="/ppt/notesSlides/notesSlide6.xml" ContentType="application/vnd.openxmlformats-officedocument.presentationml.notesSlide+xml"/>
  <Override PartName="/ppt/tags/tag88.xml" ContentType="application/vnd.openxmlformats-officedocument.presentationml.tags+xml"/>
  <Override PartName="/ppt/notesSlides/notesSlide7.xml" ContentType="application/vnd.openxmlformats-officedocument.presentationml.notesSlide+xml"/>
  <Override PartName="/ppt/tags/tag89.xml" ContentType="application/vnd.openxmlformats-officedocument.presentationml.tags+xml"/>
  <Override PartName="/ppt/notesSlides/notesSlide8.xml" ContentType="application/vnd.openxmlformats-officedocument.presentationml.notesSlide+xml"/>
  <Override PartName="/ppt/tags/tag90.xml" ContentType="application/vnd.openxmlformats-officedocument.presentationml.tags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64" r:id="rId2"/>
    <p:sldId id="466" r:id="rId3"/>
    <p:sldId id="267" r:id="rId4"/>
    <p:sldId id="279" r:id="rId5"/>
    <p:sldId id="482" r:id="rId6"/>
    <p:sldId id="422" r:id="rId7"/>
    <p:sldId id="497" r:id="rId8"/>
    <p:sldId id="483" r:id="rId9"/>
    <p:sldId id="498" r:id="rId10"/>
    <p:sldId id="486" r:id="rId11"/>
    <p:sldId id="499" r:id="rId12"/>
    <p:sldId id="500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D2CD3D4F-D695-4EA6-B37A-DBE5981C36AB}">
          <p14:sldIdLst>
            <p14:sldId id="264"/>
            <p14:sldId id="466"/>
            <p14:sldId id="267"/>
            <p14:sldId id="279"/>
            <p14:sldId id="482"/>
            <p14:sldId id="422"/>
            <p14:sldId id="497"/>
            <p14:sldId id="483"/>
            <p14:sldId id="498"/>
            <p14:sldId id="486"/>
            <p14:sldId id="499"/>
            <p14:sldId id="50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415DEFE-A9D3-EBC4-3C92-B8BE2414ACC5}" v="243" dt="2025-06-11T13:20:22.9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71" autoAdjust="0"/>
    <p:restoredTop sz="94660"/>
  </p:normalViewPr>
  <p:slideViewPr>
    <p:cSldViewPr snapToGrid="0">
      <p:cViewPr>
        <p:scale>
          <a:sx n="100" d="100"/>
          <a:sy n="100" d="100"/>
        </p:scale>
        <p:origin x="708" y="4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5CC00A-F643-4F7C-886E-36E9FE7095CD}" type="datetimeFigureOut">
              <a:rPr lang="en-US" smtClean="0"/>
              <a:t>6/1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44579E-E55E-466C-AE6E-D8EA13942E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2317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688E3B-121C-4855-9C03-75255E5B8A34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92926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686735-725D-8AD6-1256-7F23BC770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FF9246-D32A-C0CF-AF34-39CB504BCE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38D6F8-E23B-E6FC-726F-1B26369A28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985157-5B1F-3826-7522-8F82F80700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688E3B-121C-4855-9C03-75255E5B8A34}" type="slidenum">
              <a:rPr lang="en-IN" smtClean="0"/>
              <a:pPr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589852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688E3B-121C-4855-9C03-75255E5B8A34}" type="slidenum">
              <a:rPr lang="en-IN" smtClean="0"/>
              <a:pPr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124008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688E3B-121C-4855-9C03-75255E5B8A34}" type="slidenum">
              <a:rPr lang="en-IN" smtClean="0"/>
              <a:t>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801769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688E3B-121C-4855-9C03-75255E5B8A34}" type="slidenum">
              <a:rPr lang="en-IN" smtClean="0"/>
              <a:pPr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166692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688E3B-121C-4855-9C03-75255E5B8A34}" type="slidenum">
              <a:rPr lang="en-IN" smtClean="0"/>
              <a:pPr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654781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688E3B-121C-4855-9C03-75255E5B8A34}" type="slidenum">
              <a:rPr lang="en-IN" smtClean="0"/>
              <a:pPr/>
              <a:t>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079756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688E3B-121C-4855-9C03-75255E5B8A34}" type="slidenum">
              <a:rPr lang="en-IN" smtClean="0"/>
              <a:pPr/>
              <a:t>1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305941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941077-88A8-6741-2606-4EA94F889B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4580575-B0DD-718B-CBAC-26F508A6FE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8880E7-5693-BCFA-CA49-F903B392C0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738998-2242-DFB4-A029-4C333FD5C7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688E3B-121C-4855-9C03-75255E5B8A34}" type="slidenum">
              <a:rPr lang="en-IN" smtClean="0"/>
              <a:pPr/>
              <a:t>1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094555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1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1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1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1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1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5" Type="http://schemas.openxmlformats.org/officeDocument/2006/relationships/image" Target="../media/image14.png"/><Relationship Id="rId4" Type="http://schemas.openxmlformats.org/officeDocument/2006/relationships/image" Target="../media/image15.emf"/></Relationships>
</file>

<file path=ppt/slideLayouts/_rels/slideLayout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5" Type="http://schemas.openxmlformats.org/officeDocument/2006/relationships/image" Target="../media/image14.png"/><Relationship Id="rId4" Type="http://schemas.openxmlformats.org/officeDocument/2006/relationships/image" Target="../media/image1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5" Type="http://schemas.openxmlformats.org/officeDocument/2006/relationships/image" Target="../media/image14.png"/><Relationship Id="rId4" Type="http://schemas.openxmlformats.org/officeDocument/2006/relationships/image" Target="../media/image1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5" Type="http://schemas.openxmlformats.org/officeDocument/2006/relationships/image" Target="../media/image14.png"/><Relationship Id="rId4" Type="http://schemas.openxmlformats.org/officeDocument/2006/relationships/image" Target="../media/image1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4" Type="http://schemas.openxmlformats.org/officeDocument/2006/relationships/image" Target="../media/image15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4" Type="http://schemas.openxmlformats.org/officeDocument/2006/relationships/image" Target="../media/image15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4" Type="http://schemas.openxmlformats.org/officeDocument/2006/relationships/image" Target="../media/image15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7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8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4" Type="http://schemas.openxmlformats.org/officeDocument/2006/relationships/image" Target="../media/image15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4" Type="http://schemas.openxmlformats.org/officeDocument/2006/relationships/image" Target="../media/image15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Relationship Id="rId5" Type="http://schemas.openxmlformats.org/officeDocument/2006/relationships/image" Target="../media/image14.png"/><Relationship Id="rId4" Type="http://schemas.openxmlformats.org/officeDocument/2006/relationships/image" Target="../media/image15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4" Type="http://schemas.openxmlformats.org/officeDocument/2006/relationships/image" Target="../media/image15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1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5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6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7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3.jpg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DF352F-016C-4F53-A5FD-E4B1D46BF1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3956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DF352F-016C-4F53-A5FD-E4B1D46BF1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98A7E63-A791-4929-A853-EF801F834CD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IN" sz="44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3" name="Picture 12" descr="A black background with orange and grey text&#10;&#10;Description automatically generated">
            <a:extLst>
              <a:ext uri="{FF2B5EF4-FFF2-40B4-BE49-F238E27FC236}">
                <a16:creationId xmlns:a16="http://schemas.microsoft.com/office/drawing/2014/main" id="{128FF5DA-EF38-57F5-9F4E-0C5CC1B42BB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062" t="45291" r="23062" b="45291"/>
          <a:stretch/>
        </p:blipFill>
        <p:spPr>
          <a:xfrm>
            <a:off x="295503" y="2690377"/>
            <a:ext cx="3356609" cy="414914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48B1AA85-EDEC-C331-E425-AA9C9A355A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06" y="3273844"/>
            <a:ext cx="5906890" cy="1135505"/>
          </a:xfrm>
        </p:spPr>
        <p:txBody>
          <a:bodyPr vert="horz" anchor="t"/>
          <a:lstStyle>
            <a:lvl1pPr algn="l">
              <a:defRPr sz="4400" b="1" cap="none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D66A7D5-71C5-29B5-F0F3-55466C630B1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5206" y="4536349"/>
            <a:ext cx="5906890" cy="347346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sub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E864730-9BE5-3E94-5B10-C0C3519B9CC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35206" y="5010695"/>
            <a:ext cx="5906890" cy="20309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IN" dirty="0"/>
              <a:t>Date</a:t>
            </a:r>
            <a:endParaRPr lang="en-US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B49DF29-8B46-4B02-5DE1-D823DE425D25}"/>
              </a:ext>
            </a:extLst>
          </p:cNvPr>
          <p:cNvSpPr>
            <a:spLocks/>
          </p:cNvSpPr>
          <p:nvPr userDrawn="1"/>
        </p:nvSpPr>
        <p:spPr>
          <a:xfrm rot="10800000">
            <a:off x="11228439" y="513745"/>
            <a:ext cx="963561" cy="5961030"/>
          </a:xfrm>
          <a:custGeom>
            <a:avLst/>
            <a:gdLst>
              <a:gd name="connsiteX0" fmla="*/ 0 w 963561"/>
              <a:gd name="connsiteY0" fmla="*/ 5961030 h 5961030"/>
              <a:gd name="connsiteX1" fmla="*/ 0 w 963561"/>
              <a:gd name="connsiteY1" fmla="*/ 0 h 5961030"/>
              <a:gd name="connsiteX2" fmla="*/ 963561 w 963561"/>
              <a:gd name="connsiteY2" fmla="*/ 963561 h 5961030"/>
              <a:gd name="connsiteX3" fmla="*/ 963561 w 963561"/>
              <a:gd name="connsiteY3" fmla="*/ 4997469 h 5961030"/>
              <a:gd name="connsiteX4" fmla="*/ 0 w 963561"/>
              <a:gd name="connsiteY4" fmla="*/ 5961030 h 5961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3561" h="5961030">
                <a:moveTo>
                  <a:pt x="0" y="5961030"/>
                </a:moveTo>
                <a:lnTo>
                  <a:pt x="0" y="0"/>
                </a:lnTo>
                <a:cubicBezTo>
                  <a:pt x="532160" y="0"/>
                  <a:pt x="963561" y="431401"/>
                  <a:pt x="963561" y="963561"/>
                </a:cubicBezTo>
                <a:lnTo>
                  <a:pt x="963561" y="4997469"/>
                </a:lnTo>
                <a:cubicBezTo>
                  <a:pt x="963561" y="5529629"/>
                  <a:pt x="532160" y="5961030"/>
                  <a:pt x="0" y="5961030"/>
                </a:cubicBezTo>
                <a:close/>
              </a:path>
            </a:pathLst>
          </a:custGeom>
          <a:gradFill>
            <a:gsLst>
              <a:gs pos="1600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18ED7DE-EC61-D484-C94D-9A653131DFDE}"/>
              </a:ext>
            </a:extLst>
          </p:cNvPr>
          <p:cNvSpPr>
            <a:spLocks/>
          </p:cNvSpPr>
          <p:nvPr userDrawn="1"/>
        </p:nvSpPr>
        <p:spPr>
          <a:xfrm rot="10800000">
            <a:off x="10393821" y="2781458"/>
            <a:ext cx="549918" cy="2436502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38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17DC73D2-1212-78CB-2281-2E3050406BD3}"/>
              </a:ext>
            </a:extLst>
          </p:cNvPr>
          <p:cNvSpPr>
            <a:spLocks/>
          </p:cNvSpPr>
          <p:nvPr userDrawn="1"/>
        </p:nvSpPr>
        <p:spPr>
          <a:xfrm rot="10800000" flipV="1">
            <a:off x="859911" y="149220"/>
            <a:ext cx="290496" cy="1924050"/>
          </a:xfrm>
          <a:prstGeom prst="roundRect">
            <a:avLst>
              <a:gd name="adj" fmla="val 50000"/>
            </a:avLst>
          </a:prstGeom>
          <a:noFill/>
          <a:ln w="76200">
            <a:gradFill>
              <a:gsLst>
                <a:gs pos="21000">
                  <a:schemeClr val="accent1">
                    <a:alpha val="0"/>
                  </a:schemeClr>
                </a:gs>
                <a:gs pos="100000">
                  <a:schemeClr val="accent1">
                    <a:alpha val="35000"/>
                  </a:schemeClr>
                </a:gs>
              </a:gsLst>
              <a:lin ang="5400000" scaled="0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B3DD711-B856-D5BA-4527-E7C35B1F5776}"/>
              </a:ext>
            </a:extLst>
          </p:cNvPr>
          <p:cNvSpPr/>
          <p:nvPr userDrawn="1"/>
        </p:nvSpPr>
        <p:spPr>
          <a:xfrm>
            <a:off x="335205" y="-1595"/>
            <a:ext cx="290496" cy="1477364"/>
          </a:xfrm>
          <a:custGeom>
            <a:avLst/>
            <a:gdLst>
              <a:gd name="connsiteX0" fmla="*/ 0 w 290496"/>
              <a:gd name="connsiteY0" fmla="*/ 0 h 1477364"/>
              <a:gd name="connsiteX1" fmla="*/ 290496 w 290496"/>
              <a:gd name="connsiteY1" fmla="*/ 0 h 1477364"/>
              <a:gd name="connsiteX2" fmla="*/ 290496 w 290496"/>
              <a:gd name="connsiteY2" fmla="*/ 1332116 h 1477364"/>
              <a:gd name="connsiteX3" fmla="*/ 145248 w 290496"/>
              <a:gd name="connsiteY3" fmla="*/ 1477364 h 1477364"/>
              <a:gd name="connsiteX4" fmla="*/ 0 w 290496"/>
              <a:gd name="connsiteY4" fmla="*/ 1332116 h 1477364"/>
              <a:gd name="connsiteX5" fmla="*/ 0 w 290496"/>
              <a:gd name="connsiteY5" fmla="*/ 0 h 1477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0496" h="1477364">
                <a:moveTo>
                  <a:pt x="0" y="0"/>
                </a:moveTo>
                <a:lnTo>
                  <a:pt x="290496" y="0"/>
                </a:lnTo>
                <a:lnTo>
                  <a:pt x="290496" y="1332116"/>
                </a:lnTo>
                <a:cubicBezTo>
                  <a:pt x="290496" y="1412334"/>
                  <a:pt x="225466" y="1477364"/>
                  <a:pt x="145248" y="1477364"/>
                </a:cubicBezTo>
                <a:cubicBezTo>
                  <a:pt x="65030" y="1477364"/>
                  <a:pt x="0" y="1412334"/>
                  <a:pt x="0" y="1332116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 err="1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183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A8CF49-85F4-4B1B-883C-BE3628555B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6860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4A8CF49-85F4-4B1B-883C-BE3628555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9B6F1209-249D-5D8B-720F-27DF443A9AC0}"/>
              </a:ext>
            </a:extLst>
          </p:cNvPr>
          <p:cNvSpPr/>
          <p:nvPr userDrawn="1"/>
        </p:nvSpPr>
        <p:spPr>
          <a:xfrm>
            <a:off x="-1" y="0"/>
            <a:ext cx="4076905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1EEC1B5-0BE7-4DA7-A023-7E5EEC8D98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1B5D6335-C802-ED73-DBD1-064CEE8E4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342901"/>
            <a:ext cx="3457574" cy="42227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AFDFD9F-29ED-ABB0-1194-712683BE4474}"/>
              </a:ext>
            </a:extLst>
          </p:cNvPr>
          <p:cNvCxnSpPr/>
          <p:nvPr userDrawn="1"/>
        </p:nvCxnSpPr>
        <p:spPr>
          <a:xfrm>
            <a:off x="5304222" y="1940980"/>
            <a:ext cx="592184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5D5B96E-D61D-753E-CD46-33125FEED007}"/>
              </a:ext>
            </a:extLst>
          </p:cNvPr>
          <p:cNvCxnSpPr/>
          <p:nvPr userDrawn="1"/>
        </p:nvCxnSpPr>
        <p:spPr>
          <a:xfrm>
            <a:off x="5304222" y="2571252"/>
            <a:ext cx="592184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525CD4E-7551-2882-115C-9FC668C209EB}"/>
              </a:ext>
            </a:extLst>
          </p:cNvPr>
          <p:cNvCxnSpPr/>
          <p:nvPr userDrawn="1"/>
        </p:nvCxnSpPr>
        <p:spPr>
          <a:xfrm>
            <a:off x="5304222" y="3201524"/>
            <a:ext cx="592184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94D5651-262B-A88D-B885-42650B86B4E0}"/>
              </a:ext>
            </a:extLst>
          </p:cNvPr>
          <p:cNvCxnSpPr/>
          <p:nvPr userDrawn="1"/>
        </p:nvCxnSpPr>
        <p:spPr>
          <a:xfrm>
            <a:off x="5304222" y="3831796"/>
            <a:ext cx="592184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950D458-8DF3-D0FD-41BD-33A0E8940031}"/>
              </a:ext>
            </a:extLst>
          </p:cNvPr>
          <p:cNvCxnSpPr/>
          <p:nvPr userDrawn="1"/>
        </p:nvCxnSpPr>
        <p:spPr>
          <a:xfrm>
            <a:off x="5304222" y="4462068"/>
            <a:ext cx="592184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02EDA4E-C4BE-FDD8-B6A5-B53CB865F7E5}"/>
              </a:ext>
            </a:extLst>
          </p:cNvPr>
          <p:cNvCxnSpPr/>
          <p:nvPr userDrawn="1"/>
        </p:nvCxnSpPr>
        <p:spPr>
          <a:xfrm>
            <a:off x="5304222" y="5092340"/>
            <a:ext cx="592184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0">
            <a:extLst>
              <a:ext uri="{FF2B5EF4-FFF2-40B4-BE49-F238E27FC236}">
                <a16:creationId xmlns:a16="http://schemas.microsoft.com/office/drawing/2014/main" id="{5D42CF41-DD45-82E5-587A-B2A17B353303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602691" y="1506781"/>
            <a:ext cx="4603750" cy="23812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rtl="0">
              <a:buFont typeface="Arial" panose="020B0604020202020204" pitchFamily="34" charset="0"/>
              <a:buNone/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>
              <a:lnSpc>
                <a:spcPct val="110000"/>
              </a:lnSpc>
              <a:spcBef>
                <a:spcPct val="0"/>
              </a:spcBef>
            </a:pPr>
            <a:r>
              <a:rPr lang="en-US" dirty="0"/>
              <a:t>Lorem Ipsum has been the industry's standard dummy text </a:t>
            </a:r>
          </a:p>
        </p:txBody>
      </p:sp>
      <p:sp>
        <p:nvSpPr>
          <p:cNvPr id="21" name="Text Placeholder 30">
            <a:extLst>
              <a:ext uri="{FF2B5EF4-FFF2-40B4-BE49-F238E27FC236}">
                <a16:creationId xmlns:a16="http://schemas.microsoft.com/office/drawing/2014/main" id="{4DC7072B-FF53-5825-3889-FA9B6234CF00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5304222" y="1506781"/>
            <a:ext cx="467928" cy="23812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lang="en-US" sz="1800" b="1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 algn="ctr">
              <a:lnSpc>
                <a:spcPct val="110000"/>
              </a:lnSpc>
              <a:spcBef>
                <a:spcPct val="0"/>
              </a:spcBef>
            </a:pPr>
            <a:r>
              <a:rPr lang="en-US"/>
              <a:t>##</a:t>
            </a:r>
          </a:p>
        </p:txBody>
      </p:sp>
      <p:sp>
        <p:nvSpPr>
          <p:cNvPr id="22" name="Text Placeholder 30">
            <a:extLst>
              <a:ext uri="{FF2B5EF4-FFF2-40B4-BE49-F238E27FC236}">
                <a16:creationId xmlns:a16="http://schemas.microsoft.com/office/drawing/2014/main" id="{4AD61DFB-9154-8399-06B0-76DBB9CACBB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602691" y="2137053"/>
            <a:ext cx="4603750" cy="23812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>
              <a:lnSpc>
                <a:spcPct val="110000"/>
              </a:lnSpc>
              <a:spcBef>
                <a:spcPct val="0"/>
              </a:spcBef>
            </a:pPr>
            <a:r>
              <a:rPr lang="en-US"/>
              <a:t>Lorem Ipsum has been the industry's standard dummy text </a:t>
            </a:r>
          </a:p>
        </p:txBody>
      </p:sp>
      <p:sp>
        <p:nvSpPr>
          <p:cNvPr id="23" name="Text Placeholder 30">
            <a:extLst>
              <a:ext uri="{FF2B5EF4-FFF2-40B4-BE49-F238E27FC236}">
                <a16:creationId xmlns:a16="http://schemas.microsoft.com/office/drawing/2014/main" id="{673D7B16-434A-1480-BE9C-0DB9E6F30AE1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304222" y="2137054"/>
            <a:ext cx="467928" cy="23812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en-US" sz="1800" b="1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 algn="ctr">
              <a:lnSpc>
                <a:spcPct val="110000"/>
              </a:lnSpc>
              <a:spcBef>
                <a:spcPct val="0"/>
              </a:spcBef>
            </a:pPr>
            <a:r>
              <a:rPr lang="en-US"/>
              <a:t>##</a:t>
            </a:r>
          </a:p>
        </p:txBody>
      </p:sp>
      <p:sp>
        <p:nvSpPr>
          <p:cNvPr id="24" name="Text Placeholder 30">
            <a:extLst>
              <a:ext uri="{FF2B5EF4-FFF2-40B4-BE49-F238E27FC236}">
                <a16:creationId xmlns:a16="http://schemas.microsoft.com/office/drawing/2014/main" id="{A0FF9391-507D-01C4-875B-BC4A0E710ED6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602691" y="5288418"/>
            <a:ext cx="4603750" cy="23812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>
              <a:lnSpc>
                <a:spcPct val="110000"/>
              </a:lnSpc>
              <a:spcBef>
                <a:spcPct val="0"/>
              </a:spcBef>
            </a:pPr>
            <a:r>
              <a:rPr lang="en-US" dirty="0"/>
              <a:t>Lorem Ipsum has been the industry's standard dummy text </a:t>
            </a:r>
          </a:p>
        </p:txBody>
      </p:sp>
      <p:sp>
        <p:nvSpPr>
          <p:cNvPr id="25" name="Text Placeholder 30">
            <a:extLst>
              <a:ext uri="{FF2B5EF4-FFF2-40B4-BE49-F238E27FC236}">
                <a16:creationId xmlns:a16="http://schemas.microsoft.com/office/drawing/2014/main" id="{A3ACA08F-7878-E6E1-9A97-F30EF0483F04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304222" y="5288418"/>
            <a:ext cx="467928" cy="23812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en-US" sz="1800" b="1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 algn="ctr">
              <a:lnSpc>
                <a:spcPct val="110000"/>
              </a:lnSpc>
              <a:spcBef>
                <a:spcPct val="0"/>
              </a:spcBef>
            </a:pPr>
            <a:r>
              <a:rPr lang="en-US"/>
              <a:t>##</a:t>
            </a:r>
          </a:p>
        </p:txBody>
      </p:sp>
      <p:sp>
        <p:nvSpPr>
          <p:cNvPr id="26" name="Text Placeholder 30">
            <a:extLst>
              <a:ext uri="{FF2B5EF4-FFF2-40B4-BE49-F238E27FC236}">
                <a16:creationId xmlns:a16="http://schemas.microsoft.com/office/drawing/2014/main" id="{F638FE44-2C48-107F-31FD-0C200CDA217B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6602691" y="4658141"/>
            <a:ext cx="4603750" cy="23812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>
              <a:lnSpc>
                <a:spcPct val="110000"/>
              </a:lnSpc>
              <a:spcBef>
                <a:spcPct val="0"/>
              </a:spcBef>
            </a:pPr>
            <a:r>
              <a:rPr lang="en-US"/>
              <a:t>Lorem Ipsum has been the industry's standard dummy text </a:t>
            </a:r>
          </a:p>
        </p:txBody>
      </p:sp>
      <p:sp>
        <p:nvSpPr>
          <p:cNvPr id="36" name="Text Placeholder 30">
            <a:extLst>
              <a:ext uri="{FF2B5EF4-FFF2-40B4-BE49-F238E27FC236}">
                <a16:creationId xmlns:a16="http://schemas.microsoft.com/office/drawing/2014/main" id="{D77D5098-12C0-A2D3-7534-5E7F67C46A39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6602691" y="4027869"/>
            <a:ext cx="4603750" cy="23812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>
              <a:lnSpc>
                <a:spcPct val="110000"/>
              </a:lnSpc>
              <a:spcBef>
                <a:spcPct val="0"/>
              </a:spcBef>
            </a:pPr>
            <a:r>
              <a:rPr lang="en-US"/>
              <a:t>Lorem Ipsum has been the industry's standard dummy text </a:t>
            </a:r>
          </a:p>
        </p:txBody>
      </p:sp>
      <p:sp>
        <p:nvSpPr>
          <p:cNvPr id="37" name="Text Placeholder 30">
            <a:extLst>
              <a:ext uri="{FF2B5EF4-FFF2-40B4-BE49-F238E27FC236}">
                <a16:creationId xmlns:a16="http://schemas.microsoft.com/office/drawing/2014/main" id="{0271A13C-40F4-678C-2349-6D682DBD1FD8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6602691" y="3397597"/>
            <a:ext cx="4603750" cy="23812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>
              <a:lnSpc>
                <a:spcPct val="110000"/>
              </a:lnSpc>
              <a:spcBef>
                <a:spcPct val="0"/>
              </a:spcBef>
            </a:pPr>
            <a:r>
              <a:rPr lang="en-US"/>
              <a:t>Lorem Ipsum has been the industry's standard dummy text </a:t>
            </a:r>
          </a:p>
        </p:txBody>
      </p:sp>
      <p:sp>
        <p:nvSpPr>
          <p:cNvPr id="38" name="Text Placeholder 30">
            <a:extLst>
              <a:ext uri="{FF2B5EF4-FFF2-40B4-BE49-F238E27FC236}">
                <a16:creationId xmlns:a16="http://schemas.microsoft.com/office/drawing/2014/main" id="{9FE6225F-8B9C-56BF-D6C3-FDF73496C57B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6602691" y="2767325"/>
            <a:ext cx="4603750" cy="23812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>
              <a:lnSpc>
                <a:spcPct val="110000"/>
              </a:lnSpc>
              <a:spcBef>
                <a:spcPct val="0"/>
              </a:spcBef>
            </a:pPr>
            <a:r>
              <a:rPr lang="en-US"/>
              <a:t>Lorem Ipsum has been the industry's standard dummy text </a:t>
            </a:r>
          </a:p>
        </p:txBody>
      </p:sp>
      <p:sp>
        <p:nvSpPr>
          <p:cNvPr id="39" name="Text Placeholder 30">
            <a:extLst>
              <a:ext uri="{FF2B5EF4-FFF2-40B4-BE49-F238E27FC236}">
                <a16:creationId xmlns:a16="http://schemas.microsoft.com/office/drawing/2014/main" id="{4CE3A8FA-85CC-D876-D631-6F57EAC7B958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304222" y="4658146"/>
            <a:ext cx="467928" cy="23812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en-US" sz="1800" b="1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 algn="ctr">
              <a:lnSpc>
                <a:spcPct val="110000"/>
              </a:lnSpc>
              <a:spcBef>
                <a:spcPct val="0"/>
              </a:spcBef>
            </a:pPr>
            <a:r>
              <a:rPr lang="en-US"/>
              <a:t>##</a:t>
            </a:r>
          </a:p>
        </p:txBody>
      </p:sp>
      <p:sp>
        <p:nvSpPr>
          <p:cNvPr id="40" name="Text Placeholder 30">
            <a:extLst>
              <a:ext uri="{FF2B5EF4-FFF2-40B4-BE49-F238E27FC236}">
                <a16:creationId xmlns:a16="http://schemas.microsoft.com/office/drawing/2014/main" id="{6624960B-5750-C179-6F6B-31B9C488C52D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5304222" y="4027873"/>
            <a:ext cx="467928" cy="23812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en-US" sz="1800" b="1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 algn="ctr">
              <a:lnSpc>
                <a:spcPct val="110000"/>
              </a:lnSpc>
              <a:spcBef>
                <a:spcPct val="0"/>
              </a:spcBef>
            </a:pPr>
            <a:r>
              <a:rPr lang="en-US"/>
              <a:t>##</a:t>
            </a:r>
          </a:p>
        </p:txBody>
      </p:sp>
      <p:sp>
        <p:nvSpPr>
          <p:cNvPr id="41" name="Text Placeholder 30">
            <a:extLst>
              <a:ext uri="{FF2B5EF4-FFF2-40B4-BE49-F238E27FC236}">
                <a16:creationId xmlns:a16="http://schemas.microsoft.com/office/drawing/2014/main" id="{9FF6E903-57BA-1CF4-EC59-202B700BFC27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304222" y="3397600"/>
            <a:ext cx="467928" cy="23812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en-US" sz="1800" b="1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 algn="ctr">
              <a:lnSpc>
                <a:spcPct val="110000"/>
              </a:lnSpc>
              <a:spcBef>
                <a:spcPct val="0"/>
              </a:spcBef>
            </a:pPr>
            <a:r>
              <a:rPr lang="en-US"/>
              <a:t>##</a:t>
            </a:r>
          </a:p>
        </p:txBody>
      </p:sp>
      <p:sp>
        <p:nvSpPr>
          <p:cNvPr id="42" name="Text Placeholder 30">
            <a:extLst>
              <a:ext uri="{FF2B5EF4-FFF2-40B4-BE49-F238E27FC236}">
                <a16:creationId xmlns:a16="http://schemas.microsoft.com/office/drawing/2014/main" id="{C3D7A6AB-6D4C-CECD-62AE-DAE4F0ECEA98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5304222" y="2767327"/>
            <a:ext cx="467928" cy="23812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en-US" sz="1800" b="1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 algn="ctr">
              <a:lnSpc>
                <a:spcPct val="110000"/>
              </a:lnSpc>
              <a:spcBef>
                <a:spcPct val="0"/>
              </a:spcBef>
            </a:pPr>
            <a:r>
              <a:rPr lang="en-US"/>
              <a:t>##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E317ED7-CD20-EEF8-B416-CA3C47F448B7}"/>
              </a:ext>
            </a:extLst>
          </p:cNvPr>
          <p:cNvSpPr>
            <a:spLocks noGrp="1"/>
          </p:cNvSpPr>
          <p:nvPr userDrawn="1">
            <p:ph type="ftr" sz="quarter" idx="27"/>
          </p:nvPr>
        </p:nvSpPr>
        <p:spPr>
          <a:xfrm>
            <a:off x="342901" y="6296915"/>
            <a:ext cx="3457574" cy="21818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12FFCC4-DE33-F437-A340-35649548315B}"/>
              </a:ext>
            </a:extLst>
          </p:cNvPr>
          <p:cNvSpPr>
            <a:spLocks/>
          </p:cNvSpPr>
          <p:nvPr userDrawn="1"/>
        </p:nvSpPr>
        <p:spPr>
          <a:xfrm rot="10800000">
            <a:off x="419961" y="1564463"/>
            <a:ext cx="1408839" cy="4357861"/>
          </a:xfrm>
          <a:prstGeom prst="roundRect">
            <a:avLst>
              <a:gd name="adj" fmla="val 50000"/>
            </a:avLst>
          </a:prstGeom>
          <a:gradFill>
            <a:gsLst>
              <a:gs pos="58728">
                <a:srgbClr val="FFFFFF">
                  <a:alpha val="4000"/>
                </a:srgbClr>
              </a:gs>
              <a:gs pos="12000">
                <a:schemeClr val="bg1">
                  <a:alpha val="0"/>
                </a:schemeClr>
              </a:gs>
              <a:gs pos="100000">
                <a:schemeClr val="bg1">
                  <a:alpha val="10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7C1FA20-48EA-E57E-66EB-FD2DE58B7778}"/>
              </a:ext>
            </a:extLst>
          </p:cNvPr>
          <p:cNvSpPr>
            <a:spLocks/>
          </p:cNvSpPr>
          <p:nvPr userDrawn="1"/>
        </p:nvSpPr>
        <p:spPr>
          <a:xfrm rot="10800000">
            <a:off x="-190193" y="3222294"/>
            <a:ext cx="402022" cy="1781225"/>
          </a:xfrm>
          <a:prstGeom prst="roundRect">
            <a:avLst>
              <a:gd name="adj" fmla="val 50000"/>
            </a:avLst>
          </a:prstGeom>
          <a:gradFill>
            <a:gsLst>
              <a:gs pos="58728">
                <a:srgbClr val="FFFFFF">
                  <a:alpha val="4000"/>
                </a:srgbClr>
              </a:gs>
              <a:gs pos="12000">
                <a:schemeClr val="bg1">
                  <a:alpha val="0"/>
                </a:schemeClr>
              </a:gs>
              <a:gs pos="100000">
                <a:schemeClr val="bg1">
                  <a:alpha val="10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AA088D4B-D53D-5D7D-09F0-98C0029C12E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104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A8CF49-85F4-4B1B-883C-BE3628555B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3623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4A8CF49-85F4-4B1B-883C-BE3628555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9B6F1209-249D-5D8B-720F-27DF443A9AC0}"/>
              </a:ext>
            </a:extLst>
          </p:cNvPr>
          <p:cNvSpPr/>
          <p:nvPr userDrawn="1"/>
        </p:nvSpPr>
        <p:spPr>
          <a:xfrm>
            <a:off x="-1" y="0"/>
            <a:ext cx="4076905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1EEC1B5-0BE7-4DA7-A023-7E5EEC8D98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1B5D6335-C802-ED73-DBD1-064CEE8E4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342901"/>
            <a:ext cx="3457574" cy="42227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E317ED7-CD20-EEF8-B416-CA3C47F448B7}"/>
              </a:ext>
            </a:extLst>
          </p:cNvPr>
          <p:cNvSpPr>
            <a:spLocks noGrp="1"/>
          </p:cNvSpPr>
          <p:nvPr userDrawn="1">
            <p:ph type="ftr" sz="quarter" idx="27"/>
          </p:nvPr>
        </p:nvSpPr>
        <p:spPr>
          <a:xfrm>
            <a:off x="342901" y="6296915"/>
            <a:ext cx="3457574" cy="21818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12FFCC4-DE33-F437-A340-35649548315B}"/>
              </a:ext>
            </a:extLst>
          </p:cNvPr>
          <p:cNvSpPr>
            <a:spLocks/>
          </p:cNvSpPr>
          <p:nvPr userDrawn="1"/>
        </p:nvSpPr>
        <p:spPr>
          <a:xfrm rot="10800000">
            <a:off x="419961" y="1564463"/>
            <a:ext cx="1408839" cy="4357861"/>
          </a:xfrm>
          <a:prstGeom prst="roundRect">
            <a:avLst>
              <a:gd name="adj" fmla="val 50000"/>
            </a:avLst>
          </a:prstGeom>
          <a:gradFill>
            <a:gsLst>
              <a:gs pos="58728">
                <a:srgbClr val="FFFFFF">
                  <a:alpha val="4000"/>
                </a:srgbClr>
              </a:gs>
              <a:gs pos="12000">
                <a:schemeClr val="bg1">
                  <a:alpha val="0"/>
                </a:schemeClr>
              </a:gs>
              <a:gs pos="100000">
                <a:schemeClr val="bg1">
                  <a:alpha val="10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7C1FA20-48EA-E57E-66EB-FD2DE58B7778}"/>
              </a:ext>
            </a:extLst>
          </p:cNvPr>
          <p:cNvSpPr>
            <a:spLocks/>
          </p:cNvSpPr>
          <p:nvPr userDrawn="1"/>
        </p:nvSpPr>
        <p:spPr>
          <a:xfrm rot="10800000">
            <a:off x="-190193" y="3222294"/>
            <a:ext cx="402022" cy="1781225"/>
          </a:xfrm>
          <a:prstGeom prst="roundRect">
            <a:avLst>
              <a:gd name="adj" fmla="val 50000"/>
            </a:avLst>
          </a:prstGeom>
          <a:gradFill>
            <a:gsLst>
              <a:gs pos="58728">
                <a:srgbClr val="FFFFFF">
                  <a:alpha val="4000"/>
                </a:srgbClr>
              </a:gs>
              <a:gs pos="12000">
                <a:schemeClr val="bg1">
                  <a:alpha val="0"/>
                </a:schemeClr>
              </a:gs>
              <a:gs pos="100000">
                <a:schemeClr val="bg1">
                  <a:alpha val="10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AA088D4B-D53D-5D7D-09F0-98C0029C12E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546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A8CF49-85F4-4B1B-883C-BE3628555B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1615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4A8CF49-85F4-4B1B-883C-BE3628555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1EEC1B5-0BE7-4DA7-A023-7E5EEC8D98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ECA21E8-4A10-D453-B8DB-4B238B8DA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C4CB502-15B2-4B3E-7003-3374B5AE50A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13CE1E-A260-8BA0-FD78-CF7EDE2E79C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991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A8CF49-85F4-4B1B-883C-BE3628555B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251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4A8CF49-85F4-4B1B-883C-BE3628555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1EEC1B5-0BE7-4DA7-A023-7E5EEC8D98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ECA21E8-4A10-D453-B8DB-4B238B8DA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C4CB502-15B2-4B3E-7003-3374B5AE50A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13CE1E-A260-8BA0-FD78-CF7EDE2E79C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243D66-4857-0D25-5248-7E9680C4A3A6}"/>
              </a:ext>
            </a:extLst>
          </p:cNvPr>
          <p:cNvCxnSpPr/>
          <p:nvPr userDrawn="1"/>
        </p:nvCxnSpPr>
        <p:spPr>
          <a:xfrm>
            <a:off x="419100" y="5181600"/>
            <a:ext cx="114681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746B01F-7762-6B17-B8F3-48F55EC5CBBA}"/>
              </a:ext>
            </a:extLst>
          </p:cNvPr>
          <p:cNvCxnSpPr/>
          <p:nvPr userDrawn="1"/>
        </p:nvCxnSpPr>
        <p:spPr>
          <a:xfrm>
            <a:off x="3880713" y="5460896"/>
            <a:ext cx="0" cy="73761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8A017FF-87ED-60E2-6D7C-49AEC424C03C}"/>
              </a:ext>
            </a:extLst>
          </p:cNvPr>
          <p:cNvCxnSpPr/>
          <p:nvPr userDrawn="1"/>
        </p:nvCxnSpPr>
        <p:spPr>
          <a:xfrm>
            <a:off x="8098837" y="5460896"/>
            <a:ext cx="0" cy="73761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70585638-2874-09EF-8E66-D3D11B2F77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9101" y="5552705"/>
            <a:ext cx="2705100" cy="646331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5pPr>
              <a:defRPr/>
            </a:lvl5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Lorem ipsum dolor sit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amet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,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consectetuer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adipiscing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elit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. Maecenas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porttitor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congue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massa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. 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762BE892-D015-2A4E-FCC8-9A38406AF2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7225" y="5552705"/>
            <a:ext cx="2705100" cy="646331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5pPr>
              <a:defRPr/>
            </a:lvl5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Lorem ipsum dolor sit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amet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,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consectetuer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adipiscing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elit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. Maecenas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porttitor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congue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massa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. 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56FACFC7-D041-48C4-CC9D-C44D88A69E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55348" y="5552705"/>
            <a:ext cx="2705100" cy="646331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5pPr>
              <a:defRPr/>
            </a:lvl5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Lorem ipsum dolor sit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amet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,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consectetuer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adipiscing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elit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. Maecenas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porttitor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congue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 </a:t>
            </a:r>
            <a:r>
              <a:rPr lang="en-US" sz="1400" dirty="0" err="1">
                <a:solidFill>
                  <a:srgbClr val="000000"/>
                </a:solidFill>
                <a:ea typeface="+mn-ea"/>
                <a:cs typeface="+mn-cs"/>
              </a:rPr>
              <a:t>massa</a:t>
            </a:r>
            <a:r>
              <a:rPr lang="en-US" sz="1400" dirty="0">
                <a:solidFill>
                  <a:srgbClr val="000000"/>
                </a:solidFill>
                <a:ea typeface="+mn-ea"/>
                <a:cs typeface="+mn-cs"/>
              </a:rPr>
              <a:t>. 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8FEAEE48-5B5C-219D-FE12-851F316694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101" y="1644577"/>
            <a:ext cx="2705100" cy="21544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5pPr>
              <a:defRPr/>
            </a:lvl5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b="1" dirty="0">
                <a:solidFill>
                  <a:srgbClr val="000000"/>
                </a:solidFill>
                <a:ea typeface="+mn-ea"/>
                <a:cs typeface="+mn-cs"/>
              </a:rPr>
              <a:t>Lorem ipsum dolor sit </a:t>
            </a:r>
            <a:r>
              <a:rPr lang="en-US" b="1" dirty="0" err="1">
                <a:solidFill>
                  <a:srgbClr val="000000"/>
                </a:solidFill>
                <a:ea typeface="+mn-ea"/>
                <a:cs typeface="+mn-cs"/>
              </a:rPr>
              <a:t>amet</a:t>
            </a:r>
            <a:endParaRPr lang="en-US" b="1" dirty="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C1549DE-9A82-3721-CBE0-7BDE8272054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73850" y="1644577"/>
            <a:ext cx="2705100" cy="21544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5pPr>
              <a:defRPr/>
            </a:lvl5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b="1" dirty="0">
                <a:solidFill>
                  <a:srgbClr val="000000"/>
                </a:solidFill>
                <a:ea typeface="+mn-ea"/>
                <a:cs typeface="+mn-cs"/>
              </a:rPr>
              <a:t>Lorem ipsum dolor sit </a:t>
            </a:r>
            <a:r>
              <a:rPr lang="en-US" b="1" dirty="0" err="1">
                <a:solidFill>
                  <a:srgbClr val="000000"/>
                </a:solidFill>
                <a:ea typeface="+mn-ea"/>
                <a:cs typeface="+mn-cs"/>
              </a:rPr>
              <a:t>amet</a:t>
            </a:r>
            <a:endParaRPr lang="en-US" b="1" dirty="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28" name="Chart Placeholder 26">
            <a:extLst>
              <a:ext uri="{FF2B5EF4-FFF2-40B4-BE49-F238E27FC236}">
                <a16:creationId xmlns:a16="http://schemas.microsoft.com/office/drawing/2014/main" id="{0AD39168-54DA-3ACA-59FF-88B5024CAE69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419100" y="2056069"/>
            <a:ext cx="5296572" cy="2929483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.</a:t>
            </a:r>
          </a:p>
        </p:txBody>
      </p:sp>
      <p:sp>
        <p:nvSpPr>
          <p:cNvPr id="30" name="Chart Placeholder 26">
            <a:extLst>
              <a:ext uri="{FF2B5EF4-FFF2-40B4-BE49-F238E27FC236}">
                <a16:creationId xmlns:a16="http://schemas.microsoft.com/office/drawing/2014/main" id="{41F8867C-F96C-5ACF-E9C1-5EB5E39393A1}"/>
              </a:ext>
            </a:extLst>
          </p:cNvPr>
          <p:cNvSpPr>
            <a:spLocks noGrp="1"/>
          </p:cNvSpPr>
          <p:nvPr>
            <p:ph type="chart" sz="quarter" idx="20" hasCustomPrompt="1"/>
          </p:nvPr>
        </p:nvSpPr>
        <p:spPr>
          <a:xfrm>
            <a:off x="6590628" y="2056069"/>
            <a:ext cx="5296572" cy="2929483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8145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A8CF49-85F4-4B1B-883C-BE3628555B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0336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4A8CF49-85F4-4B1B-883C-BE3628555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1EEC1B5-0BE7-4DA7-A023-7E5EEC8D98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ECA21E8-4A10-D453-B8DB-4B238B8DA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A45F50D-F095-D339-565A-1B9A63B38C2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79A74A44-E519-1723-2893-96488276A662}"/>
              </a:ext>
            </a:extLst>
          </p:cNvPr>
          <p:cNvSpPr/>
          <p:nvPr userDrawn="1"/>
        </p:nvSpPr>
        <p:spPr>
          <a:xfrm rot="16200000">
            <a:off x="11469688" y="634048"/>
            <a:ext cx="591184" cy="85344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C3CE459-84F7-059A-F8D8-B21F553F7FFD}"/>
              </a:ext>
            </a:extLst>
          </p:cNvPr>
          <p:cNvSpPr/>
          <p:nvPr userDrawn="1"/>
        </p:nvSpPr>
        <p:spPr>
          <a:xfrm>
            <a:off x="11408568" y="823596"/>
            <a:ext cx="474345" cy="474345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E2AA483B-7951-95F7-0031-7A4146A2CB7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1477625" y="895350"/>
            <a:ext cx="327025" cy="327025"/>
          </a:xfrm>
          <a:prstGeom prst="ellipse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.</a:t>
            </a:r>
            <a:endParaRPr lang="en-GB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472C73B-B163-BCCB-5EC3-A0EC5E94229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466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A8CF49-85F4-4B1B-883C-BE3628555B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2006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4A8CF49-85F4-4B1B-883C-BE3628555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1EEC1B5-0BE7-4DA7-A023-7E5EEC8D98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ECA21E8-4A10-D453-B8DB-4B238B8DA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078C5E40-576D-E80A-34A3-910664237C7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1440F41A-AAD0-DF18-6E88-566BF1E7CD2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94" t="43871" r="21794" b="43871"/>
          <a:stretch/>
        </p:blipFill>
        <p:spPr>
          <a:xfrm>
            <a:off x="10185399" y="411163"/>
            <a:ext cx="1851933" cy="28455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306FC27-C254-50AF-D70A-EE7B1B4BFCB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947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8C5D46-9A06-4913-998B-EEB990B11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848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8C5D46-9A06-4913-998B-EEB990B11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E14D622-941F-4567-B0DF-C5DE5942EA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Text Placeholder 18">
            <a:extLst>
              <a:ext uri="{FF2B5EF4-FFF2-40B4-BE49-F238E27FC236}">
                <a16:creationId xmlns:a16="http://schemas.microsoft.com/office/drawing/2014/main" id="{683971A6-91AE-2FA1-3AC8-31A61D2621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2901" y="1393372"/>
            <a:ext cx="11466576" cy="466452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FE6E870-9863-CBDA-C70C-7C7CD5D19B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2CF697-55E7-DDFA-84E9-18BAB883A19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33575D-3D36-5233-DD13-643361428FB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423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8C5D46-9A06-4913-998B-EEB990B11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3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8C5D46-9A06-4913-998B-EEB990B11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E14D622-941F-4567-B0DF-C5DE5942EA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BE3C41-02E6-32C3-906B-280EE8F70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39C363-DBCB-880F-DCDA-6010CB66A18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sz="800"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9642D69-9F65-E33D-FB5F-680216AA6E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6758E64-ACDD-3FD8-0C08-43836B98653C}"/>
              </a:ext>
            </a:extLst>
          </p:cNvPr>
          <p:cNvCxnSpPr>
            <a:cxnSpLocks/>
          </p:cNvCxnSpPr>
          <p:nvPr userDrawn="1"/>
        </p:nvCxnSpPr>
        <p:spPr>
          <a:xfrm>
            <a:off x="419100" y="5221493"/>
            <a:ext cx="114681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016064C-96A0-4235-A58B-B5B49763FB10}"/>
              </a:ext>
            </a:extLst>
          </p:cNvPr>
          <p:cNvCxnSpPr>
            <a:cxnSpLocks/>
          </p:cNvCxnSpPr>
          <p:nvPr userDrawn="1"/>
        </p:nvCxnSpPr>
        <p:spPr>
          <a:xfrm>
            <a:off x="3179978" y="5552705"/>
            <a:ext cx="0" cy="18466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0D0E474-5AB6-B38D-94BC-A28202236E6C}"/>
              </a:ext>
            </a:extLst>
          </p:cNvPr>
          <p:cNvCxnSpPr>
            <a:cxnSpLocks/>
          </p:cNvCxnSpPr>
          <p:nvPr userDrawn="1"/>
        </p:nvCxnSpPr>
        <p:spPr>
          <a:xfrm>
            <a:off x="6153148" y="5552705"/>
            <a:ext cx="0" cy="18466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9E99517-A265-9A9F-142A-AC375352F556}"/>
              </a:ext>
            </a:extLst>
          </p:cNvPr>
          <p:cNvCxnSpPr>
            <a:cxnSpLocks/>
          </p:cNvCxnSpPr>
          <p:nvPr userDrawn="1"/>
        </p:nvCxnSpPr>
        <p:spPr>
          <a:xfrm>
            <a:off x="9126318" y="5552705"/>
            <a:ext cx="0" cy="18466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9B989BC-3655-5A7B-5D3A-D897DF87F186}"/>
              </a:ext>
            </a:extLst>
          </p:cNvPr>
          <p:cNvCxnSpPr>
            <a:cxnSpLocks/>
          </p:cNvCxnSpPr>
          <p:nvPr userDrawn="1"/>
        </p:nvCxnSpPr>
        <p:spPr>
          <a:xfrm>
            <a:off x="3179978" y="5946405"/>
            <a:ext cx="0" cy="18466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891D596-4467-91A4-2BD2-A8933FEEFEC8}"/>
              </a:ext>
            </a:extLst>
          </p:cNvPr>
          <p:cNvCxnSpPr>
            <a:cxnSpLocks/>
          </p:cNvCxnSpPr>
          <p:nvPr userDrawn="1"/>
        </p:nvCxnSpPr>
        <p:spPr>
          <a:xfrm>
            <a:off x="6153148" y="5946405"/>
            <a:ext cx="0" cy="18466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CC04791-6340-A864-3EFC-D3A5C0D29FF3}"/>
              </a:ext>
            </a:extLst>
          </p:cNvPr>
          <p:cNvCxnSpPr>
            <a:cxnSpLocks/>
          </p:cNvCxnSpPr>
          <p:nvPr userDrawn="1"/>
        </p:nvCxnSpPr>
        <p:spPr>
          <a:xfrm>
            <a:off x="9126318" y="5946405"/>
            <a:ext cx="0" cy="18466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2F45BB-9F7F-398C-28B0-301E9E01BD6A}"/>
              </a:ext>
            </a:extLst>
          </p:cNvPr>
          <p:cNvCxnSpPr>
            <a:cxnSpLocks/>
          </p:cNvCxnSpPr>
          <p:nvPr userDrawn="1"/>
        </p:nvCxnSpPr>
        <p:spPr>
          <a:xfrm>
            <a:off x="419098" y="5841888"/>
            <a:ext cx="254859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2F5529F-19DF-0888-19A8-31379AF410F1}"/>
              </a:ext>
            </a:extLst>
          </p:cNvPr>
          <p:cNvCxnSpPr>
            <a:cxnSpLocks/>
          </p:cNvCxnSpPr>
          <p:nvPr userDrawn="1"/>
        </p:nvCxnSpPr>
        <p:spPr>
          <a:xfrm>
            <a:off x="3392268" y="5841888"/>
            <a:ext cx="254859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F494844-4F07-0189-1DAA-B406B5909534}"/>
              </a:ext>
            </a:extLst>
          </p:cNvPr>
          <p:cNvCxnSpPr>
            <a:cxnSpLocks/>
          </p:cNvCxnSpPr>
          <p:nvPr userDrawn="1"/>
        </p:nvCxnSpPr>
        <p:spPr>
          <a:xfrm>
            <a:off x="6365438" y="5841888"/>
            <a:ext cx="254859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9395A27-0EB2-48B6-FF94-D8D5C0A7C7E3}"/>
              </a:ext>
            </a:extLst>
          </p:cNvPr>
          <p:cNvCxnSpPr>
            <a:cxnSpLocks/>
          </p:cNvCxnSpPr>
          <p:nvPr userDrawn="1"/>
        </p:nvCxnSpPr>
        <p:spPr>
          <a:xfrm>
            <a:off x="9338608" y="5841888"/>
            <a:ext cx="254859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2DEED698-89C5-FC8F-2FD0-7E7951978A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57675" y="5088267"/>
            <a:ext cx="3790950" cy="184666"/>
          </a:xfrm>
          <a:solidFill>
            <a:schemeClr val="bg1"/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 algn="ct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accent1"/>
                </a:solidFill>
                <a:ea typeface="+mn-ea"/>
                <a:cs typeface="+mn-cs"/>
              </a:rPr>
              <a:t>Lorem ipsum dolor sit </a:t>
            </a:r>
            <a:r>
              <a:rPr lang="en-US" sz="1200" dirty="0" err="1">
                <a:solidFill>
                  <a:schemeClr val="accent1"/>
                </a:solidFill>
                <a:ea typeface="+mn-ea"/>
                <a:cs typeface="+mn-cs"/>
              </a:rPr>
              <a:t>amet</a:t>
            </a:r>
            <a:r>
              <a:rPr lang="en-US" sz="1200" dirty="0">
                <a:solidFill>
                  <a:schemeClr val="accent1"/>
                </a:solidFill>
                <a:ea typeface="+mn-ea"/>
                <a:cs typeface="+mn-cs"/>
              </a:rPr>
              <a:t>, </a:t>
            </a:r>
            <a:r>
              <a:rPr lang="en-US" sz="1200" dirty="0" err="1">
                <a:solidFill>
                  <a:schemeClr val="accent1"/>
                </a:solidFill>
                <a:ea typeface="+mn-ea"/>
                <a:cs typeface="+mn-cs"/>
              </a:rPr>
              <a:t>consectetuer</a:t>
            </a:r>
            <a:r>
              <a:rPr lang="en-US" sz="1200" dirty="0">
                <a:solidFill>
                  <a:schemeClr val="accent1"/>
                </a:solidFill>
                <a:ea typeface="+mn-ea"/>
                <a:cs typeface="+mn-cs"/>
              </a:rPr>
              <a:t> </a:t>
            </a:r>
            <a:r>
              <a:rPr lang="en-US" sz="1200" dirty="0" err="1">
                <a:solidFill>
                  <a:schemeClr val="accent1"/>
                </a:solidFill>
                <a:ea typeface="+mn-ea"/>
                <a:cs typeface="+mn-cs"/>
              </a:rPr>
              <a:t>adipiscing</a:t>
            </a:r>
            <a:r>
              <a:rPr lang="en-US" sz="1200" dirty="0">
                <a:solidFill>
                  <a:schemeClr val="accent1"/>
                </a:solidFill>
                <a:ea typeface="+mn-ea"/>
                <a:cs typeface="+mn-cs"/>
              </a:rPr>
              <a:t> </a:t>
            </a:r>
          </a:p>
        </p:txBody>
      </p:sp>
      <p:sp>
        <p:nvSpPr>
          <p:cNvPr id="41" name="Text Placeholder 39">
            <a:extLst>
              <a:ext uri="{FF2B5EF4-FFF2-40B4-BE49-F238E27FC236}">
                <a16:creationId xmlns:a16="http://schemas.microsoft.com/office/drawing/2014/main" id="{C2A8EE45-6374-DC24-EA2F-DE18462BBA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9098" y="5552705"/>
            <a:ext cx="2548590" cy="184666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en-US" dirty="0"/>
              <a:t>Lorem ipsum</a:t>
            </a:r>
            <a:endParaRPr lang="en-GB" dirty="0"/>
          </a:p>
        </p:txBody>
      </p:sp>
      <p:sp>
        <p:nvSpPr>
          <p:cNvPr id="44" name="Text Placeholder 39">
            <a:extLst>
              <a:ext uri="{FF2B5EF4-FFF2-40B4-BE49-F238E27FC236}">
                <a16:creationId xmlns:a16="http://schemas.microsoft.com/office/drawing/2014/main" id="{F0BB1AD9-EFBB-233B-4364-57036ED795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9098" y="5946405"/>
            <a:ext cx="2548590" cy="184666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en-US" dirty="0"/>
              <a:t>Lorem ipsum</a:t>
            </a:r>
            <a:endParaRPr lang="en-GB" dirty="0"/>
          </a:p>
        </p:txBody>
      </p:sp>
      <p:sp>
        <p:nvSpPr>
          <p:cNvPr id="45" name="Text Placeholder 39">
            <a:extLst>
              <a:ext uri="{FF2B5EF4-FFF2-40B4-BE49-F238E27FC236}">
                <a16:creationId xmlns:a16="http://schemas.microsoft.com/office/drawing/2014/main" id="{4940388A-B861-B896-D306-8331A5B997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92268" y="5552705"/>
            <a:ext cx="2548590" cy="184666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en-US" dirty="0"/>
              <a:t>Lorem ipsum</a:t>
            </a:r>
            <a:endParaRPr lang="en-GB" dirty="0"/>
          </a:p>
        </p:txBody>
      </p:sp>
      <p:sp>
        <p:nvSpPr>
          <p:cNvPr id="46" name="Text Placeholder 39">
            <a:extLst>
              <a:ext uri="{FF2B5EF4-FFF2-40B4-BE49-F238E27FC236}">
                <a16:creationId xmlns:a16="http://schemas.microsoft.com/office/drawing/2014/main" id="{09987179-B6E3-B4F9-621B-D1723ABB45A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92268" y="5946405"/>
            <a:ext cx="2548590" cy="184666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en-US" dirty="0"/>
              <a:t>Lorem ipsum</a:t>
            </a:r>
            <a:endParaRPr lang="en-GB" dirty="0"/>
          </a:p>
        </p:txBody>
      </p:sp>
      <p:sp>
        <p:nvSpPr>
          <p:cNvPr id="47" name="Text Placeholder 39">
            <a:extLst>
              <a:ext uri="{FF2B5EF4-FFF2-40B4-BE49-F238E27FC236}">
                <a16:creationId xmlns:a16="http://schemas.microsoft.com/office/drawing/2014/main" id="{0AD1BD4D-7FC1-B5AC-C484-F853D45360C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65438" y="5552705"/>
            <a:ext cx="2548590" cy="184666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en-US" dirty="0"/>
              <a:t>Lorem ipsum</a:t>
            </a:r>
            <a:endParaRPr lang="en-GB" dirty="0"/>
          </a:p>
        </p:txBody>
      </p:sp>
      <p:sp>
        <p:nvSpPr>
          <p:cNvPr id="48" name="Text Placeholder 39">
            <a:extLst>
              <a:ext uri="{FF2B5EF4-FFF2-40B4-BE49-F238E27FC236}">
                <a16:creationId xmlns:a16="http://schemas.microsoft.com/office/drawing/2014/main" id="{4ACAAB4C-6CD0-3065-D52E-0680D91A639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65438" y="5946405"/>
            <a:ext cx="2548590" cy="184666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en-US" dirty="0"/>
              <a:t>Lorem ipsum</a:t>
            </a:r>
            <a:endParaRPr lang="en-GB" dirty="0"/>
          </a:p>
        </p:txBody>
      </p:sp>
      <p:sp>
        <p:nvSpPr>
          <p:cNvPr id="49" name="Text Placeholder 39">
            <a:extLst>
              <a:ext uri="{FF2B5EF4-FFF2-40B4-BE49-F238E27FC236}">
                <a16:creationId xmlns:a16="http://schemas.microsoft.com/office/drawing/2014/main" id="{6FA2197B-5044-2B32-6360-C3FA8AC32CA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608" y="5552705"/>
            <a:ext cx="2548590" cy="184666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en-US" dirty="0"/>
              <a:t>Lorem ipsum</a:t>
            </a:r>
            <a:endParaRPr lang="en-GB" dirty="0"/>
          </a:p>
        </p:txBody>
      </p:sp>
      <p:sp>
        <p:nvSpPr>
          <p:cNvPr id="50" name="Text Placeholder 39">
            <a:extLst>
              <a:ext uri="{FF2B5EF4-FFF2-40B4-BE49-F238E27FC236}">
                <a16:creationId xmlns:a16="http://schemas.microsoft.com/office/drawing/2014/main" id="{B20CEBE5-272A-C2DE-A003-D86AAA5E925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38608" y="5946405"/>
            <a:ext cx="2548590" cy="184666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en-US" dirty="0"/>
              <a:t>Lorem ipsum</a:t>
            </a:r>
            <a:endParaRPr lang="en-GB" dirty="0"/>
          </a:p>
        </p:txBody>
      </p:sp>
      <p:sp>
        <p:nvSpPr>
          <p:cNvPr id="54" name="Chart Placeholder 52">
            <a:extLst>
              <a:ext uri="{FF2B5EF4-FFF2-40B4-BE49-F238E27FC236}">
                <a16:creationId xmlns:a16="http://schemas.microsoft.com/office/drawing/2014/main" id="{0B0B71D5-FA53-FB17-95F2-7338EF6B10EA}"/>
              </a:ext>
            </a:extLst>
          </p:cNvPr>
          <p:cNvSpPr>
            <a:spLocks noGrp="1"/>
          </p:cNvSpPr>
          <p:nvPr>
            <p:ph type="chart" sz="quarter" idx="27" hasCustomPrompt="1"/>
          </p:nvPr>
        </p:nvSpPr>
        <p:spPr>
          <a:xfrm>
            <a:off x="342900" y="1393826"/>
            <a:ext cx="11466513" cy="3578224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46976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8C5D46-9A06-4913-998B-EEB990B11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227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8C5D46-9A06-4913-998B-EEB990B11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E14D622-941F-4567-B0DF-C5DE5942EA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BE3C41-02E6-32C3-906B-280EE8F70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39C363-DBCB-880F-DCDA-6010CB66A18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sz="800"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A82119A-2306-CC88-BE0D-F18A25052B8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42901" y="1393371"/>
            <a:ext cx="11466576" cy="4647702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9642D69-9F65-E33D-FB5F-680216AA6E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60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8C5D46-9A06-4913-998B-EEB990B11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9353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8C5D46-9A06-4913-998B-EEB990B11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D0DE3707-849B-B98D-EF87-B88D2D51062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906494" y="0"/>
            <a:ext cx="3285506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.</a:t>
            </a:r>
          </a:p>
        </p:txBody>
      </p:sp>
      <p:sp>
        <p:nvSpPr>
          <p:cNvPr id="70" name="Chart Placeholder 67">
            <a:extLst>
              <a:ext uri="{FF2B5EF4-FFF2-40B4-BE49-F238E27FC236}">
                <a16:creationId xmlns:a16="http://schemas.microsoft.com/office/drawing/2014/main" id="{E882EAD3-5ED4-99B1-4698-DBB16FA5301C}"/>
              </a:ext>
            </a:extLst>
          </p:cNvPr>
          <p:cNvSpPr>
            <a:spLocks noGrp="1"/>
          </p:cNvSpPr>
          <p:nvPr>
            <p:ph type="chart" sz="quarter" idx="46" hasCustomPrompt="1"/>
          </p:nvPr>
        </p:nvSpPr>
        <p:spPr>
          <a:xfrm>
            <a:off x="4176572" y="1477946"/>
            <a:ext cx="1456006" cy="1371038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.</a:t>
            </a:r>
          </a:p>
        </p:txBody>
      </p:sp>
      <p:sp>
        <p:nvSpPr>
          <p:cNvPr id="71" name="Chart Placeholder 67">
            <a:extLst>
              <a:ext uri="{FF2B5EF4-FFF2-40B4-BE49-F238E27FC236}">
                <a16:creationId xmlns:a16="http://schemas.microsoft.com/office/drawing/2014/main" id="{FDBC4790-0E1D-1D4F-F002-8B2E3143F65A}"/>
              </a:ext>
            </a:extLst>
          </p:cNvPr>
          <p:cNvSpPr>
            <a:spLocks noGrp="1"/>
          </p:cNvSpPr>
          <p:nvPr>
            <p:ph type="chart" sz="quarter" idx="47" hasCustomPrompt="1"/>
          </p:nvPr>
        </p:nvSpPr>
        <p:spPr>
          <a:xfrm>
            <a:off x="4176572" y="2953312"/>
            <a:ext cx="1456006" cy="1371038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.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E14D622-941F-4567-B0DF-C5DE5942EA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BE3C41-02E6-32C3-906B-280EE8F70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39C363-DBCB-880F-DCDA-6010CB66A18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sz="800"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9642D69-9F65-E33D-FB5F-680216AA6E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FF22A29B-F02A-8A00-6141-1FAFB64CE31B}"/>
              </a:ext>
            </a:extLst>
          </p:cNvPr>
          <p:cNvCxnSpPr>
            <a:cxnSpLocks/>
          </p:cNvCxnSpPr>
          <p:nvPr userDrawn="1"/>
        </p:nvCxnSpPr>
        <p:spPr>
          <a:xfrm>
            <a:off x="3744685" y="1758484"/>
            <a:ext cx="0" cy="247968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 Placeholder 95">
            <a:extLst>
              <a:ext uri="{FF2B5EF4-FFF2-40B4-BE49-F238E27FC236}">
                <a16:creationId xmlns:a16="http://schemas.microsoft.com/office/drawing/2014/main" id="{2B6ADF1A-C674-3B8C-9F46-A590AA67F77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19100" y="2101521"/>
            <a:ext cx="2694648" cy="369332"/>
          </a:xfrm>
        </p:spPr>
        <p:txBody>
          <a:bodyPr>
            <a:spAutoFit/>
          </a:bodyPr>
          <a:lstStyle>
            <a:lvl1pPr marL="0" indent="0" algn="l">
              <a:buNone/>
              <a:defRPr sz="12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consectetu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. </a:t>
            </a:r>
          </a:p>
        </p:txBody>
      </p:sp>
      <p:sp>
        <p:nvSpPr>
          <p:cNvPr id="46" name="Text Placeholder 95">
            <a:extLst>
              <a:ext uri="{FF2B5EF4-FFF2-40B4-BE49-F238E27FC236}">
                <a16:creationId xmlns:a16="http://schemas.microsoft.com/office/drawing/2014/main" id="{EBB0F61F-A2A3-B908-114C-26F8121B94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848564" y="2014449"/>
            <a:ext cx="2556177" cy="553998"/>
          </a:xfrm>
        </p:spPr>
        <p:txBody>
          <a:bodyPr>
            <a:spAutoFit/>
          </a:bodyPr>
          <a:lstStyle>
            <a:lvl1pPr marL="0" indent="0" algn="l">
              <a:buNone/>
              <a:defRPr sz="12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consectetu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. </a:t>
            </a:r>
          </a:p>
        </p:txBody>
      </p:sp>
      <p:sp>
        <p:nvSpPr>
          <p:cNvPr id="47" name="Text Placeholder 95">
            <a:extLst>
              <a:ext uri="{FF2B5EF4-FFF2-40B4-BE49-F238E27FC236}">
                <a16:creationId xmlns:a16="http://schemas.microsoft.com/office/drawing/2014/main" id="{D82AB152-C251-1349-37AB-3451CF257A0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848564" y="3492637"/>
            <a:ext cx="2556177" cy="553998"/>
          </a:xfrm>
        </p:spPr>
        <p:txBody>
          <a:bodyPr>
            <a:spAutoFit/>
          </a:bodyPr>
          <a:lstStyle>
            <a:lvl1pPr marL="0" indent="0" algn="l">
              <a:buNone/>
              <a:defRPr sz="12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consectetu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. </a:t>
            </a:r>
          </a:p>
        </p:txBody>
      </p:sp>
      <p:sp>
        <p:nvSpPr>
          <p:cNvPr id="49" name="Text Placeholder 30">
            <a:extLst>
              <a:ext uri="{FF2B5EF4-FFF2-40B4-BE49-F238E27FC236}">
                <a16:creationId xmlns:a16="http://schemas.microsoft.com/office/drawing/2014/main" id="{7ED85B39-A40E-6106-E7F6-CA43D97407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9099" y="1685318"/>
            <a:ext cx="2694648" cy="2600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rtl="0">
              <a:buFont typeface="Arial" panose="020B0604020202020204" pitchFamily="34" charset="0"/>
              <a:buNone/>
              <a:defRPr lang="en-US" sz="16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>
              <a:lnSpc>
                <a:spcPct val="110000"/>
              </a:lnSpc>
              <a:spcBef>
                <a:spcPct val="0"/>
              </a:spcBef>
            </a:pPr>
            <a:r>
              <a:rPr lang="en-US" dirty="0"/>
              <a:t>Lorem ipsum</a:t>
            </a:r>
          </a:p>
        </p:txBody>
      </p:sp>
      <p:sp>
        <p:nvSpPr>
          <p:cNvPr id="51" name="Text Placeholder 30">
            <a:extLst>
              <a:ext uri="{FF2B5EF4-FFF2-40B4-BE49-F238E27FC236}">
                <a16:creationId xmlns:a16="http://schemas.microsoft.com/office/drawing/2014/main" id="{35089BBB-E0E8-51E2-4393-FD198F299F5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853658" y="1758484"/>
            <a:ext cx="2551083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rtl="0">
              <a:buFont typeface="Arial" panose="020B0604020202020204" pitchFamily="34" charset="0"/>
              <a:buNone/>
              <a:defRPr lang="en-US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>
              <a:lnSpc>
                <a:spcPct val="110000"/>
              </a:lnSpc>
              <a:spcBef>
                <a:spcPct val="0"/>
              </a:spcBef>
            </a:pPr>
            <a:r>
              <a:rPr lang="en-US" dirty="0"/>
              <a:t>Lorem ipsum</a:t>
            </a:r>
          </a:p>
        </p:txBody>
      </p:sp>
      <p:sp>
        <p:nvSpPr>
          <p:cNvPr id="53" name="Text Placeholder 30">
            <a:extLst>
              <a:ext uri="{FF2B5EF4-FFF2-40B4-BE49-F238E27FC236}">
                <a16:creationId xmlns:a16="http://schemas.microsoft.com/office/drawing/2014/main" id="{32959B33-182A-8E50-EB67-6195B1DE6B0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53658" y="3231026"/>
            <a:ext cx="2551083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rtl="0">
              <a:buFont typeface="Arial" panose="020B0604020202020204" pitchFamily="34" charset="0"/>
              <a:buNone/>
              <a:defRPr lang="en-US" sz="14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>
              <a:lnSpc>
                <a:spcPct val="110000"/>
              </a:lnSpc>
              <a:spcBef>
                <a:spcPct val="0"/>
              </a:spcBef>
            </a:pPr>
            <a:r>
              <a:rPr lang="en-US" dirty="0"/>
              <a:t>Lorem ipsum</a:t>
            </a:r>
          </a:p>
        </p:txBody>
      </p:sp>
      <p:sp>
        <p:nvSpPr>
          <p:cNvPr id="112" name="Text Placeholder 109">
            <a:extLst>
              <a:ext uri="{FF2B5EF4-FFF2-40B4-BE49-F238E27FC236}">
                <a16:creationId xmlns:a16="http://schemas.microsoft.com/office/drawing/2014/main" id="{22C50728-768D-A647-DD31-3A0906138A9A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42900" y="4750153"/>
            <a:ext cx="9029700" cy="1516015"/>
          </a:xfr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 smtClean="0">
                <a:solidFill>
                  <a:srgbClr val="FF5A00"/>
                </a:solidFill>
              </a:defRPr>
            </a:lvl1pPr>
            <a:lvl2pPr>
              <a:defRPr lang="en-US" sz="1800" dirty="0" smtClean="0">
                <a:solidFill>
                  <a:schemeClr val="lt1"/>
                </a:solidFill>
              </a:defRPr>
            </a:lvl2pPr>
            <a:lvl3pPr>
              <a:defRPr lang="en-US" sz="1800" dirty="0" smtClean="0">
                <a:solidFill>
                  <a:schemeClr val="lt1"/>
                </a:solidFill>
              </a:defRPr>
            </a:lvl3pPr>
            <a:lvl4pPr>
              <a:defRPr lang="en-US" sz="1800" dirty="0" smtClean="0">
                <a:solidFill>
                  <a:schemeClr val="lt1"/>
                </a:solidFill>
              </a:defRPr>
            </a:lvl4pPr>
            <a:lvl5pPr>
              <a:defRPr lang="en-GB" sz="1800" dirty="0">
                <a:solidFill>
                  <a:schemeClr val="lt1"/>
                </a:solidFill>
              </a:defRPr>
            </a:lvl5pPr>
          </a:lstStyle>
          <a:p>
            <a:pPr marL="0" lvl="0" algn="ctr" defTabSz="914400"/>
            <a:r>
              <a:rPr lang="en-GB" dirty="0"/>
              <a:t>.</a:t>
            </a:r>
          </a:p>
        </p:txBody>
      </p:sp>
      <p:sp>
        <p:nvSpPr>
          <p:cNvPr id="57" name="Picture Placeholder 12">
            <a:extLst>
              <a:ext uri="{FF2B5EF4-FFF2-40B4-BE49-F238E27FC236}">
                <a16:creationId xmlns:a16="http://schemas.microsoft.com/office/drawing/2014/main" id="{F6CC633C-8576-4E81-D7FB-D784476CF3C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54741" y="5192692"/>
            <a:ext cx="630936" cy="630936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.</a:t>
            </a:r>
          </a:p>
        </p:txBody>
      </p:sp>
      <p:sp>
        <p:nvSpPr>
          <p:cNvPr id="58" name="Picture Placeholder 12">
            <a:extLst>
              <a:ext uri="{FF2B5EF4-FFF2-40B4-BE49-F238E27FC236}">
                <a16:creationId xmlns:a16="http://schemas.microsoft.com/office/drawing/2014/main" id="{52C7EBD3-0527-5034-AE59-DA828C43939C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691763" y="5193328"/>
            <a:ext cx="630936" cy="630936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.</a:t>
            </a:r>
          </a:p>
        </p:txBody>
      </p:sp>
      <p:sp>
        <p:nvSpPr>
          <p:cNvPr id="59" name="Picture Placeholder 12">
            <a:extLst>
              <a:ext uri="{FF2B5EF4-FFF2-40B4-BE49-F238E27FC236}">
                <a16:creationId xmlns:a16="http://schemas.microsoft.com/office/drawing/2014/main" id="{512C15CD-98F7-D921-BD27-2577F9B4657B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6528785" y="5193328"/>
            <a:ext cx="630936" cy="630936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.</a:t>
            </a:r>
          </a:p>
        </p:txBody>
      </p:sp>
      <p:sp>
        <p:nvSpPr>
          <p:cNvPr id="61" name="Text Placeholder 30">
            <a:extLst>
              <a:ext uri="{FF2B5EF4-FFF2-40B4-BE49-F238E27FC236}">
                <a16:creationId xmlns:a16="http://schemas.microsoft.com/office/drawing/2014/main" id="{7AB64A1B-1AD6-D5F2-6EF4-80ACF3BD0C9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709033" y="5104014"/>
            <a:ext cx="965743" cy="5199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rtl="0">
              <a:buFont typeface="Arial" panose="020B0604020202020204" pitchFamily="34" charset="0"/>
              <a:buNone/>
              <a:defRPr lang="en-US" sz="32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>
              <a:lnSpc>
                <a:spcPct val="110000"/>
              </a:lnSpc>
              <a:spcBef>
                <a:spcPct val="0"/>
              </a:spcBef>
            </a:pPr>
            <a:r>
              <a:rPr lang="en-US" dirty="0"/>
              <a:t>###</a:t>
            </a:r>
          </a:p>
        </p:txBody>
      </p: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41F1DD1F-1884-A742-C316-F0BF3C554BE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709034" y="5696862"/>
            <a:ext cx="1184632" cy="215444"/>
          </a:xfrm>
        </p:spPr>
        <p:txBody>
          <a:bodyPr wrap="square">
            <a:sp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99" name="Text Placeholder 30">
            <a:extLst>
              <a:ext uri="{FF2B5EF4-FFF2-40B4-BE49-F238E27FC236}">
                <a16:creationId xmlns:a16="http://schemas.microsoft.com/office/drawing/2014/main" id="{0361D8A1-107C-A7F9-CB00-C7107C8D873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546056" y="5104014"/>
            <a:ext cx="965743" cy="5199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rtl="0">
              <a:buFont typeface="Arial" panose="020B0604020202020204" pitchFamily="34" charset="0"/>
              <a:buNone/>
              <a:defRPr lang="en-US" sz="32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>
              <a:lnSpc>
                <a:spcPct val="110000"/>
              </a:lnSpc>
              <a:spcBef>
                <a:spcPct val="0"/>
              </a:spcBef>
            </a:pPr>
            <a:r>
              <a:rPr lang="en-US" dirty="0"/>
              <a:t>###</a:t>
            </a:r>
          </a:p>
        </p:txBody>
      </p:sp>
      <p:sp>
        <p:nvSpPr>
          <p:cNvPr id="100" name="Text Placeholder 73">
            <a:extLst>
              <a:ext uri="{FF2B5EF4-FFF2-40B4-BE49-F238E27FC236}">
                <a16:creationId xmlns:a16="http://schemas.microsoft.com/office/drawing/2014/main" id="{B4E2E701-C0A5-9D0E-6AA8-9E2594145CD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546056" y="5696862"/>
            <a:ext cx="1184632" cy="215444"/>
          </a:xfrm>
        </p:spPr>
        <p:txBody>
          <a:bodyPr wrap="square">
            <a:sp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01" name="Text Placeholder 30">
            <a:extLst>
              <a:ext uri="{FF2B5EF4-FFF2-40B4-BE49-F238E27FC236}">
                <a16:creationId xmlns:a16="http://schemas.microsoft.com/office/drawing/2014/main" id="{6180D602-7840-046C-1024-E06711EE01F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83077" y="5104014"/>
            <a:ext cx="965743" cy="5199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rtl="0">
              <a:buFont typeface="Arial" panose="020B0604020202020204" pitchFamily="34" charset="0"/>
              <a:buNone/>
              <a:defRPr lang="en-US" sz="32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>
              <a:lnSpc>
                <a:spcPct val="110000"/>
              </a:lnSpc>
              <a:spcBef>
                <a:spcPct val="0"/>
              </a:spcBef>
            </a:pPr>
            <a:r>
              <a:rPr lang="en-US" dirty="0"/>
              <a:t>###</a:t>
            </a:r>
          </a:p>
        </p:txBody>
      </p:sp>
      <p:sp>
        <p:nvSpPr>
          <p:cNvPr id="102" name="Text Placeholder 73">
            <a:extLst>
              <a:ext uri="{FF2B5EF4-FFF2-40B4-BE49-F238E27FC236}">
                <a16:creationId xmlns:a16="http://schemas.microsoft.com/office/drawing/2014/main" id="{A34D154D-5B32-9032-0EC9-255F50E433A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383077" y="5696862"/>
            <a:ext cx="1184632" cy="215444"/>
          </a:xfrm>
        </p:spPr>
        <p:txBody>
          <a:bodyPr wrap="square">
            <a:sp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23" name="Text Placeholder 121">
            <a:extLst>
              <a:ext uri="{FF2B5EF4-FFF2-40B4-BE49-F238E27FC236}">
                <a16:creationId xmlns:a16="http://schemas.microsoft.com/office/drawing/2014/main" id="{8B1BC97F-B809-9668-39E0-65DDEF46132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447375" y="1978799"/>
            <a:ext cx="914400" cy="369332"/>
          </a:xfrm>
        </p:spPr>
        <p:txBody>
          <a:bodyPr anchor="ctr">
            <a:spAutoFit/>
          </a:bodyPr>
          <a:lstStyle>
            <a:lvl1pPr marL="0" indent="0" algn="ctr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en-GB" sz="2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 dirty="0"/>
              <a:t>XX%</a:t>
            </a:r>
            <a:endParaRPr lang="en-GB" dirty="0"/>
          </a:p>
        </p:txBody>
      </p:sp>
      <p:sp>
        <p:nvSpPr>
          <p:cNvPr id="124" name="Text Placeholder 121">
            <a:extLst>
              <a:ext uri="{FF2B5EF4-FFF2-40B4-BE49-F238E27FC236}">
                <a16:creationId xmlns:a16="http://schemas.microsoft.com/office/drawing/2014/main" id="{77373807-4E84-DE37-0944-620CF69F150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447375" y="3454165"/>
            <a:ext cx="914400" cy="369332"/>
          </a:xfrm>
        </p:spPr>
        <p:txBody>
          <a:bodyPr anchor="ctr">
            <a:spAutoFit/>
          </a:bodyPr>
          <a:lstStyle>
            <a:lvl1pPr marL="0" indent="0" algn="ctr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en-GB" sz="24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 dirty="0"/>
              <a:t>XX%</a:t>
            </a:r>
            <a:endParaRPr lang="en-GB" dirty="0"/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3673F0FA-1EFF-AD6D-887D-682B45767902}"/>
              </a:ext>
            </a:extLst>
          </p:cNvPr>
          <p:cNvCxnSpPr>
            <a:cxnSpLocks/>
          </p:cNvCxnSpPr>
          <p:nvPr userDrawn="1"/>
        </p:nvCxnSpPr>
        <p:spPr>
          <a:xfrm>
            <a:off x="3292714" y="5066002"/>
            <a:ext cx="0" cy="88431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9EFE12E2-7D35-4102-7DF3-C1F0554561BB}"/>
              </a:ext>
            </a:extLst>
          </p:cNvPr>
          <p:cNvCxnSpPr>
            <a:cxnSpLocks/>
          </p:cNvCxnSpPr>
          <p:nvPr userDrawn="1"/>
        </p:nvCxnSpPr>
        <p:spPr>
          <a:xfrm>
            <a:off x="6129737" y="5066002"/>
            <a:ext cx="0" cy="88431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812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DF352F-016C-4F53-A5FD-E4B1D46BF1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1169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DF352F-016C-4F53-A5FD-E4B1D46BF1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98A7E63-A791-4929-A853-EF801F834CD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IN" sz="44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9339B4E8-BE5E-A612-2C82-2DB1A48AA0E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633455" y="2702344"/>
            <a:ext cx="5215646" cy="1135505"/>
          </a:xfrm>
        </p:spPr>
        <p:txBody>
          <a:bodyPr vert="horz" anchor="t"/>
          <a:lstStyle>
            <a:lvl1pPr algn="l">
              <a:defRPr sz="4400" b="1" cap="none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D7C1BAD-1A70-4AA7-4CE0-187859CA8B8F}"/>
              </a:ext>
            </a:extLst>
          </p:cNvPr>
          <p:cNvSpPr>
            <a:spLocks noGrp="1"/>
          </p:cNvSpPr>
          <p:nvPr userDrawn="1">
            <p:ph type="body" idx="1" hasCustomPrompt="1"/>
          </p:nvPr>
        </p:nvSpPr>
        <p:spPr>
          <a:xfrm>
            <a:off x="6633455" y="3964849"/>
            <a:ext cx="5215646" cy="347346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subtext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4E59266-938C-7665-6515-5FCA5B7DD56F}"/>
              </a:ext>
            </a:extLst>
          </p:cNvPr>
          <p:cNvSpPr>
            <a:spLocks noGrp="1"/>
          </p:cNvSpPr>
          <p:nvPr userDrawn="1">
            <p:ph type="body" idx="10" hasCustomPrompt="1"/>
          </p:nvPr>
        </p:nvSpPr>
        <p:spPr>
          <a:xfrm>
            <a:off x="6633455" y="4439195"/>
            <a:ext cx="5215646" cy="20309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IN" dirty="0"/>
              <a:t>Date</a:t>
            </a:r>
            <a:endParaRPr lang="en-US" dirty="0"/>
          </a:p>
        </p:txBody>
      </p:sp>
      <p:pic>
        <p:nvPicPr>
          <p:cNvPr id="23" name="Picture 22" descr="A black background with orange and grey text&#10;&#10;Description automatically generated">
            <a:extLst>
              <a:ext uri="{FF2B5EF4-FFF2-40B4-BE49-F238E27FC236}">
                <a16:creationId xmlns:a16="http://schemas.microsoft.com/office/drawing/2014/main" id="{38EE5741-0B0C-876D-2862-A02005391A1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062" t="45291" r="23062" b="45291"/>
          <a:stretch/>
        </p:blipFill>
        <p:spPr>
          <a:xfrm>
            <a:off x="6641149" y="2118877"/>
            <a:ext cx="3356609" cy="414914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C1F78707-E56A-99DC-2616-EB689811B3A8}"/>
              </a:ext>
            </a:extLst>
          </p:cNvPr>
          <p:cNvGrpSpPr/>
          <p:nvPr userDrawn="1"/>
        </p:nvGrpSpPr>
        <p:grpSpPr>
          <a:xfrm>
            <a:off x="476249" y="1009648"/>
            <a:ext cx="4332209" cy="5848353"/>
            <a:chOff x="-6819496" y="1009648"/>
            <a:chExt cx="4332209" cy="5848353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F3866637-12E5-D6E8-980A-D6605827DC3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rcRect l="12070" t="7931" r="49173"/>
            <a:stretch>
              <a:fillRect/>
            </a:stretch>
          </p:blipFill>
          <p:spPr>
            <a:xfrm>
              <a:off x="-6819496" y="1009648"/>
              <a:ext cx="3448571" cy="5848353"/>
            </a:xfrm>
            <a:custGeom>
              <a:avLst/>
              <a:gdLst>
                <a:gd name="connsiteX0" fmla="*/ 1724286 w 3448571"/>
                <a:gd name="connsiteY0" fmla="*/ 0 h 5848353"/>
                <a:gd name="connsiteX1" fmla="*/ 1724285 w 3448571"/>
                <a:gd name="connsiteY1" fmla="*/ 1 h 5848353"/>
                <a:gd name="connsiteX2" fmla="*/ 3448571 w 3448571"/>
                <a:gd name="connsiteY2" fmla="*/ 1724287 h 5848353"/>
                <a:gd name="connsiteX3" fmla="*/ 3448571 w 3448571"/>
                <a:gd name="connsiteY3" fmla="*/ 5848353 h 5848353"/>
                <a:gd name="connsiteX4" fmla="*/ 0 w 3448571"/>
                <a:gd name="connsiteY4" fmla="*/ 5848353 h 5848353"/>
                <a:gd name="connsiteX5" fmla="*/ 0 w 3448571"/>
                <a:gd name="connsiteY5" fmla="*/ 1724286 h 5848353"/>
                <a:gd name="connsiteX6" fmla="*/ 1724286 w 3448571"/>
                <a:gd name="connsiteY6" fmla="*/ 0 h 5848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48571" h="5848353">
                  <a:moveTo>
                    <a:pt x="1724286" y="0"/>
                  </a:moveTo>
                  <a:lnTo>
                    <a:pt x="1724285" y="1"/>
                  </a:lnTo>
                  <a:cubicBezTo>
                    <a:pt x="2676582" y="1"/>
                    <a:pt x="3448571" y="771990"/>
                    <a:pt x="3448571" y="1724287"/>
                  </a:cubicBezTo>
                  <a:lnTo>
                    <a:pt x="3448571" y="5848353"/>
                  </a:lnTo>
                  <a:lnTo>
                    <a:pt x="0" y="5848353"/>
                  </a:lnTo>
                  <a:lnTo>
                    <a:pt x="0" y="1724286"/>
                  </a:lnTo>
                  <a:cubicBezTo>
                    <a:pt x="0" y="771989"/>
                    <a:pt x="771989" y="0"/>
                    <a:pt x="1724286" y="0"/>
                  </a:cubicBezTo>
                  <a:close/>
                </a:path>
              </a:pathLst>
            </a:cu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07579BF0-CBB0-1D4C-6E1B-463576742B9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rcRect l="54606" t="31436" r="38130" b="39964"/>
            <a:stretch/>
          </p:blipFill>
          <p:spPr>
            <a:xfrm>
              <a:off x="-3063355" y="2489674"/>
              <a:ext cx="576068" cy="1619252"/>
            </a:xfrm>
            <a:custGeom>
              <a:avLst/>
              <a:gdLst>
                <a:gd name="connsiteX0" fmla="*/ 288034 w 576068"/>
                <a:gd name="connsiteY0" fmla="*/ 0 h 1619252"/>
                <a:gd name="connsiteX1" fmla="*/ 576068 w 576068"/>
                <a:gd name="connsiteY1" fmla="*/ 288034 h 1619252"/>
                <a:gd name="connsiteX2" fmla="*/ 576068 w 576068"/>
                <a:gd name="connsiteY2" fmla="*/ 1331218 h 1619252"/>
                <a:gd name="connsiteX3" fmla="*/ 288034 w 576068"/>
                <a:gd name="connsiteY3" fmla="*/ 1619252 h 1619252"/>
                <a:gd name="connsiteX4" fmla="*/ 0 w 576068"/>
                <a:gd name="connsiteY4" fmla="*/ 1331218 h 1619252"/>
                <a:gd name="connsiteX5" fmla="*/ 0 w 576068"/>
                <a:gd name="connsiteY5" fmla="*/ 288034 h 1619252"/>
                <a:gd name="connsiteX6" fmla="*/ 288034 w 576068"/>
                <a:gd name="connsiteY6" fmla="*/ 0 h 1619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6068" h="1619252">
                  <a:moveTo>
                    <a:pt x="288034" y="0"/>
                  </a:moveTo>
                  <a:cubicBezTo>
                    <a:pt x="447111" y="0"/>
                    <a:pt x="576068" y="128957"/>
                    <a:pt x="576068" y="288034"/>
                  </a:cubicBezTo>
                  <a:lnTo>
                    <a:pt x="576068" y="1331218"/>
                  </a:lnTo>
                  <a:cubicBezTo>
                    <a:pt x="576068" y="1490295"/>
                    <a:pt x="447111" y="1619252"/>
                    <a:pt x="288034" y="1619252"/>
                  </a:cubicBezTo>
                  <a:cubicBezTo>
                    <a:pt x="128957" y="1619252"/>
                    <a:pt x="0" y="1490295"/>
                    <a:pt x="0" y="1331218"/>
                  </a:cubicBezTo>
                  <a:lnTo>
                    <a:pt x="0" y="288034"/>
                  </a:lnTo>
                  <a:cubicBezTo>
                    <a:pt x="0" y="128957"/>
                    <a:pt x="128957" y="0"/>
                    <a:pt x="288034" y="0"/>
                  </a:cubicBezTo>
                  <a:close/>
                </a:path>
              </a:pathLst>
            </a:custGeom>
          </p:spPr>
        </p:pic>
      </p:grpSp>
      <p:pic>
        <p:nvPicPr>
          <p:cNvPr id="32" name="Picture 31">
            <a:extLst>
              <a:ext uri="{FF2B5EF4-FFF2-40B4-BE49-F238E27FC236}">
                <a16:creationId xmlns:a16="http://schemas.microsoft.com/office/drawing/2014/main" id="{D4695D0A-CF8D-E257-4F52-84240FCFDCC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20998" y="659278"/>
            <a:ext cx="5301981" cy="6198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547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8C5D46-9A06-4913-998B-EEB990B11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304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8C5D46-9A06-4913-998B-EEB990B11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E14D622-941F-4567-B0DF-C5DE5942EA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BE3C41-02E6-32C3-906B-280EE8F70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39C363-DBCB-880F-DCDA-6010CB66A18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sz="800"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9642D69-9F65-E33D-FB5F-680216AA6E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E0506E68-4FD0-EA3E-30E0-E0C961585F6E}"/>
              </a:ext>
            </a:extLst>
          </p:cNvPr>
          <p:cNvSpPr>
            <a:spLocks/>
          </p:cNvSpPr>
          <p:nvPr userDrawn="1"/>
        </p:nvSpPr>
        <p:spPr bwMode="auto">
          <a:xfrm>
            <a:off x="2620963" y="2224589"/>
            <a:ext cx="1687204" cy="3358436"/>
          </a:xfrm>
          <a:custGeom>
            <a:avLst/>
            <a:gdLst>
              <a:gd name="T0" fmla="*/ 0 w 1141"/>
              <a:gd name="T1" fmla="*/ 0 h 2496"/>
              <a:gd name="T2" fmla="*/ 0 w 1141"/>
              <a:gd name="T3" fmla="*/ 2496 h 2496"/>
              <a:gd name="T4" fmla="*/ 1141 w 1141"/>
              <a:gd name="T5" fmla="*/ 2188 h 2496"/>
              <a:gd name="T6" fmla="*/ 1141 w 1141"/>
              <a:gd name="T7" fmla="*/ 350 h 2496"/>
              <a:gd name="T8" fmla="*/ 0 w 1141"/>
              <a:gd name="T9" fmla="*/ 0 h 24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41" h="2496">
                <a:moveTo>
                  <a:pt x="0" y="0"/>
                </a:moveTo>
                <a:cubicBezTo>
                  <a:pt x="0" y="2496"/>
                  <a:pt x="0" y="2496"/>
                  <a:pt x="0" y="2496"/>
                </a:cubicBezTo>
                <a:cubicBezTo>
                  <a:pt x="357" y="2379"/>
                  <a:pt x="738" y="2276"/>
                  <a:pt x="1141" y="2188"/>
                </a:cubicBezTo>
                <a:cubicBezTo>
                  <a:pt x="1141" y="350"/>
                  <a:pt x="1141" y="350"/>
                  <a:pt x="1141" y="350"/>
                </a:cubicBezTo>
                <a:cubicBezTo>
                  <a:pt x="730" y="250"/>
                  <a:pt x="348" y="132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" name="Freeform 10">
            <a:extLst>
              <a:ext uri="{FF2B5EF4-FFF2-40B4-BE49-F238E27FC236}">
                <a16:creationId xmlns:a16="http://schemas.microsoft.com/office/drawing/2014/main" id="{56A4602F-042B-81FA-D478-7226B92D4FC9}"/>
              </a:ext>
            </a:extLst>
          </p:cNvPr>
          <p:cNvSpPr>
            <a:spLocks/>
          </p:cNvSpPr>
          <p:nvPr userDrawn="1"/>
        </p:nvSpPr>
        <p:spPr bwMode="auto">
          <a:xfrm>
            <a:off x="4374462" y="2712610"/>
            <a:ext cx="1685547" cy="2445375"/>
          </a:xfrm>
          <a:custGeom>
            <a:avLst/>
            <a:gdLst>
              <a:gd name="T0" fmla="*/ 0 w 1140"/>
              <a:gd name="T1" fmla="*/ 0 h 1817"/>
              <a:gd name="T2" fmla="*/ 0 w 1140"/>
              <a:gd name="T3" fmla="*/ 1817 h 1817"/>
              <a:gd name="T4" fmla="*/ 1140 w 1140"/>
              <a:gd name="T5" fmla="*/ 1621 h 1817"/>
              <a:gd name="T6" fmla="*/ 1140 w 1140"/>
              <a:gd name="T7" fmla="*/ 219 h 1817"/>
              <a:gd name="T8" fmla="*/ 0 w 1140"/>
              <a:gd name="T9" fmla="*/ 0 h 18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40" h="1817">
                <a:moveTo>
                  <a:pt x="0" y="0"/>
                </a:moveTo>
                <a:cubicBezTo>
                  <a:pt x="0" y="1817"/>
                  <a:pt x="0" y="1817"/>
                  <a:pt x="0" y="1817"/>
                </a:cubicBezTo>
                <a:cubicBezTo>
                  <a:pt x="364" y="1739"/>
                  <a:pt x="745" y="1673"/>
                  <a:pt x="1140" y="1621"/>
                </a:cubicBezTo>
                <a:cubicBezTo>
                  <a:pt x="1140" y="219"/>
                  <a:pt x="1140" y="219"/>
                  <a:pt x="1140" y="219"/>
                </a:cubicBezTo>
                <a:cubicBezTo>
                  <a:pt x="741" y="160"/>
                  <a:pt x="360" y="8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" name="Freeform 11">
            <a:extLst>
              <a:ext uri="{FF2B5EF4-FFF2-40B4-BE49-F238E27FC236}">
                <a16:creationId xmlns:a16="http://schemas.microsoft.com/office/drawing/2014/main" id="{DB6CA180-043E-0C77-628A-8E4187A10788}"/>
              </a:ext>
            </a:extLst>
          </p:cNvPr>
          <p:cNvSpPr>
            <a:spLocks/>
          </p:cNvSpPr>
          <p:nvPr userDrawn="1"/>
        </p:nvSpPr>
        <p:spPr bwMode="auto">
          <a:xfrm>
            <a:off x="6126303" y="3017038"/>
            <a:ext cx="1685547" cy="1871323"/>
          </a:xfrm>
          <a:custGeom>
            <a:avLst/>
            <a:gdLst>
              <a:gd name="T0" fmla="*/ 0 w 1140"/>
              <a:gd name="T1" fmla="*/ 0 h 1390"/>
              <a:gd name="T2" fmla="*/ 0 w 1140"/>
              <a:gd name="T3" fmla="*/ 1390 h 1390"/>
              <a:gd name="T4" fmla="*/ 1140 w 1140"/>
              <a:gd name="T5" fmla="*/ 1286 h 1390"/>
              <a:gd name="T6" fmla="*/ 1140 w 1140"/>
              <a:gd name="T7" fmla="*/ 120 h 1390"/>
              <a:gd name="T8" fmla="*/ 0 w 1140"/>
              <a:gd name="T9" fmla="*/ 0 h 1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40" h="1390">
                <a:moveTo>
                  <a:pt x="0" y="0"/>
                </a:moveTo>
                <a:cubicBezTo>
                  <a:pt x="0" y="1390"/>
                  <a:pt x="0" y="1390"/>
                  <a:pt x="0" y="1390"/>
                </a:cubicBezTo>
                <a:cubicBezTo>
                  <a:pt x="369" y="1343"/>
                  <a:pt x="750" y="1308"/>
                  <a:pt x="1140" y="1286"/>
                </a:cubicBezTo>
                <a:cubicBezTo>
                  <a:pt x="1140" y="120"/>
                  <a:pt x="1140" y="120"/>
                  <a:pt x="1140" y="120"/>
                </a:cubicBezTo>
                <a:cubicBezTo>
                  <a:pt x="748" y="93"/>
                  <a:pt x="367" y="53"/>
                  <a:pt x="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Freeform 12">
            <a:extLst>
              <a:ext uri="{FF2B5EF4-FFF2-40B4-BE49-F238E27FC236}">
                <a16:creationId xmlns:a16="http://schemas.microsoft.com/office/drawing/2014/main" id="{19863D8C-F3BB-A561-5417-2A854C654F2C}"/>
              </a:ext>
            </a:extLst>
          </p:cNvPr>
          <p:cNvSpPr>
            <a:spLocks/>
          </p:cNvSpPr>
          <p:nvPr userDrawn="1"/>
        </p:nvSpPr>
        <p:spPr bwMode="auto">
          <a:xfrm>
            <a:off x="7876487" y="3183830"/>
            <a:ext cx="1688862" cy="1560942"/>
          </a:xfrm>
          <a:custGeom>
            <a:avLst/>
            <a:gdLst>
              <a:gd name="T0" fmla="*/ 0 w 1141"/>
              <a:gd name="T1" fmla="*/ 0 h 1160"/>
              <a:gd name="T2" fmla="*/ 0 w 1141"/>
              <a:gd name="T3" fmla="*/ 1160 h 1160"/>
              <a:gd name="T4" fmla="*/ 923 w 1141"/>
              <a:gd name="T5" fmla="*/ 1135 h 1160"/>
              <a:gd name="T6" fmla="*/ 1141 w 1141"/>
              <a:gd name="T7" fmla="*/ 1137 h 1160"/>
              <a:gd name="T8" fmla="*/ 1141 w 1141"/>
              <a:gd name="T9" fmla="*/ 35 h 1160"/>
              <a:gd name="T10" fmla="*/ 1087 w 1141"/>
              <a:gd name="T11" fmla="*/ 35 h 1160"/>
              <a:gd name="T12" fmla="*/ 0 w 1141"/>
              <a:gd name="T13" fmla="*/ 0 h 1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1" h="1160">
                <a:moveTo>
                  <a:pt x="0" y="0"/>
                </a:moveTo>
                <a:cubicBezTo>
                  <a:pt x="0" y="1160"/>
                  <a:pt x="0" y="1160"/>
                  <a:pt x="0" y="1160"/>
                </a:cubicBezTo>
                <a:cubicBezTo>
                  <a:pt x="303" y="1144"/>
                  <a:pt x="610" y="1135"/>
                  <a:pt x="923" y="1135"/>
                </a:cubicBezTo>
                <a:cubicBezTo>
                  <a:pt x="996" y="1135"/>
                  <a:pt x="1068" y="1136"/>
                  <a:pt x="1141" y="1137"/>
                </a:cubicBezTo>
                <a:cubicBezTo>
                  <a:pt x="1141" y="35"/>
                  <a:pt x="1141" y="35"/>
                  <a:pt x="1141" y="35"/>
                </a:cubicBezTo>
                <a:cubicBezTo>
                  <a:pt x="1123" y="35"/>
                  <a:pt x="1105" y="35"/>
                  <a:pt x="1087" y="35"/>
                </a:cubicBezTo>
                <a:cubicBezTo>
                  <a:pt x="717" y="35"/>
                  <a:pt x="354" y="23"/>
                  <a:pt x="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CC60EF0-6519-9AE5-9A84-56A4C1F3DF9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007365" y="3446607"/>
            <a:ext cx="914400" cy="914400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o add icon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1F129288-5887-4C7B-0D1F-E058ED47BC9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60035" y="3446607"/>
            <a:ext cx="914400" cy="914400"/>
          </a:xfr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icon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21D719F-AE18-720E-2318-620AB00DF4E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511876" y="3446607"/>
            <a:ext cx="914400" cy="914400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o add icon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F8D90D78-2448-69E4-30B5-E684A20219AA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63718" y="3446607"/>
            <a:ext cx="914400" cy="914400"/>
          </a:xfr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icon</a:t>
            </a:r>
          </a:p>
        </p:txBody>
      </p:sp>
      <p:cxnSp>
        <p:nvCxnSpPr>
          <p:cNvPr id="17" name="Elbow Connector 28">
            <a:extLst>
              <a:ext uri="{FF2B5EF4-FFF2-40B4-BE49-F238E27FC236}">
                <a16:creationId xmlns:a16="http://schemas.microsoft.com/office/drawing/2014/main" id="{CA98587F-1D41-0761-6FCB-4F3BE9BFCA61}"/>
              </a:ext>
            </a:extLst>
          </p:cNvPr>
          <p:cNvCxnSpPr>
            <a:cxnSpLocks/>
          </p:cNvCxnSpPr>
          <p:nvPr userDrawn="1"/>
        </p:nvCxnSpPr>
        <p:spPr>
          <a:xfrm rot="16200000" flipH="1">
            <a:off x="5150312" y="5171189"/>
            <a:ext cx="556952" cy="499957"/>
          </a:xfrm>
          <a:prstGeom prst="bentConnector2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33">
            <a:extLst>
              <a:ext uri="{FF2B5EF4-FFF2-40B4-BE49-F238E27FC236}">
                <a16:creationId xmlns:a16="http://schemas.microsoft.com/office/drawing/2014/main" id="{E68A3170-0D9C-A97E-D9C7-D70659C26661}"/>
              </a:ext>
            </a:extLst>
          </p:cNvPr>
          <p:cNvCxnSpPr>
            <a:cxnSpLocks/>
          </p:cNvCxnSpPr>
          <p:nvPr userDrawn="1"/>
        </p:nvCxnSpPr>
        <p:spPr>
          <a:xfrm rot="16200000" flipH="1">
            <a:off x="8475104" y="5043262"/>
            <a:ext cx="900073" cy="412687"/>
          </a:xfrm>
          <a:prstGeom prst="bentConnector2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30">
            <a:extLst>
              <a:ext uri="{FF2B5EF4-FFF2-40B4-BE49-F238E27FC236}">
                <a16:creationId xmlns:a16="http://schemas.microsoft.com/office/drawing/2014/main" id="{C1A21365-5B2A-8F00-2151-BE9DF1A1025E}"/>
              </a:ext>
            </a:extLst>
          </p:cNvPr>
          <p:cNvCxnSpPr>
            <a:cxnSpLocks/>
          </p:cNvCxnSpPr>
          <p:nvPr userDrawn="1"/>
        </p:nvCxnSpPr>
        <p:spPr>
          <a:xfrm rot="5400000" flipH="1" flipV="1">
            <a:off x="6586341" y="2067482"/>
            <a:ext cx="1316394" cy="586087"/>
          </a:xfrm>
          <a:prstGeom prst="bentConnector2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26">
            <a:extLst>
              <a:ext uri="{FF2B5EF4-FFF2-40B4-BE49-F238E27FC236}">
                <a16:creationId xmlns:a16="http://schemas.microsoft.com/office/drawing/2014/main" id="{2C680699-4F0C-66E8-9179-F1B00B4C24F9}"/>
              </a:ext>
            </a:extLst>
          </p:cNvPr>
          <p:cNvCxnSpPr>
            <a:cxnSpLocks/>
          </p:cNvCxnSpPr>
          <p:nvPr userDrawn="1"/>
        </p:nvCxnSpPr>
        <p:spPr>
          <a:xfrm rot="5400000" flipH="1" flipV="1">
            <a:off x="3432119" y="1841403"/>
            <a:ext cx="729685" cy="451535"/>
          </a:xfrm>
          <a:prstGeom prst="bentConnector2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30">
            <a:extLst>
              <a:ext uri="{FF2B5EF4-FFF2-40B4-BE49-F238E27FC236}">
                <a16:creationId xmlns:a16="http://schemas.microsoft.com/office/drawing/2014/main" id="{0DF5AE6C-92F6-87AB-5ABD-5CDF248D70E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22169" y="1600124"/>
            <a:ext cx="2333909" cy="19492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rtl="0">
              <a:buFont typeface="Arial" panose="020B0604020202020204" pitchFamily="34" charset="0"/>
              <a:buNone/>
              <a:defRPr lang="en-US" sz="12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>
              <a:lnSpc>
                <a:spcPct val="110000"/>
              </a:lnSpc>
              <a:spcBef>
                <a:spcPct val="0"/>
              </a:spcBef>
            </a:pPr>
            <a:r>
              <a:rPr lang="en-US" dirty="0"/>
              <a:t>Lorem ipsum</a:t>
            </a:r>
          </a:p>
        </p:txBody>
      </p:sp>
      <p:sp>
        <p:nvSpPr>
          <p:cNvPr id="35" name="Text Placeholder 30">
            <a:extLst>
              <a:ext uri="{FF2B5EF4-FFF2-40B4-BE49-F238E27FC236}">
                <a16:creationId xmlns:a16="http://schemas.microsoft.com/office/drawing/2014/main" id="{52A1509E-A41F-D651-95A0-D0D4D26210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22169" y="1831233"/>
            <a:ext cx="2333909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rtl="0">
              <a:buFont typeface="Arial" panose="020B0604020202020204" pitchFamily="34" charset="0"/>
              <a:buNone/>
              <a:def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consectetu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</p:txBody>
      </p:sp>
      <p:sp>
        <p:nvSpPr>
          <p:cNvPr id="36" name="Text Placeholder 30">
            <a:extLst>
              <a:ext uri="{FF2B5EF4-FFF2-40B4-BE49-F238E27FC236}">
                <a16:creationId xmlns:a16="http://schemas.microsoft.com/office/drawing/2014/main" id="{98EC0688-3058-3100-5709-DF24C3BF99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37022" y="1600124"/>
            <a:ext cx="2333909" cy="19492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rtl="0">
              <a:buFont typeface="Arial" panose="020B0604020202020204" pitchFamily="34" charset="0"/>
              <a:buNone/>
              <a:defRPr lang="en-US" sz="12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>
              <a:lnSpc>
                <a:spcPct val="110000"/>
              </a:lnSpc>
              <a:spcBef>
                <a:spcPct val="0"/>
              </a:spcBef>
            </a:pPr>
            <a:r>
              <a:rPr lang="en-US" dirty="0"/>
              <a:t>Lorem ipsum</a:t>
            </a:r>
          </a:p>
        </p:txBody>
      </p:sp>
      <p:sp>
        <p:nvSpPr>
          <p:cNvPr id="37" name="Text Placeholder 30">
            <a:extLst>
              <a:ext uri="{FF2B5EF4-FFF2-40B4-BE49-F238E27FC236}">
                <a16:creationId xmlns:a16="http://schemas.microsoft.com/office/drawing/2014/main" id="{43C9A3F8-7259-989B-DB06-68B5B71A60B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37022" y="1831233"/>
            <a:ext cx="2333909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rtl="0">
              <a:buFont typeface="Arial" panose="020B0604020202020204" pitchFamily="34" charset="0"/>
              <a:buNone/>
              <a:def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consectetu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</p:txBody>
      </p:sp>
      <p:sp>
        <p:nvSpPr>
          <p:cNvPr id="40" name="Text Placeholder 30">
            <a:extLst>
              <a:ext uri="{FF2B5EF4-FFF2-40B4-BE49-F238E27FC236}">
                <a16:creationId xmlns:a16="http://schemas.microsoft.com/office/drawing/2014/main" id="{732188AF-DBC6-143C-3DD7-EF2CDC67C4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778209" y="5597440"/>
            <a:ext cx="2333909" cy="19492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rtl="0">
              <a:buFont typeface="Arial" panose="020B0604020202020204" pitchFamily="34" charset="0"/>
              <a:buNone/>
              <a:defRPr lang="en-US" sz="12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>
              <a:lnSpc>
                <a:spcPct val="110000"/>
              </a:lnSpc>
              <a:spcBef>
                <a:spcPct val="0"/>
              </a:spcBef>
            </a:pPr>
            <a:r>
              <a:rPr lang="en-US" dirty="0"/>
              <a:t>Lorem ipsum</a:t>
            </a:r>
          </a:p>
        </p:txBody>
      </p:sp>
      <p:sp>
        <p:nvSpPr>
          <p:cNvPr id="41" name="Text Placeholder 30">
            <a:extLst>
              <a:ext uri="{FF2B5EF4-FFF2-40B4-BE49-F238E27FC236}">
                <a16:creationId xmlns:a16="http://schemas.microsoft.com/office/drawing/2014/main" id="{A4093CF6-73E3-15FB-A3AB-2B0F79A3006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778209" y="5828549"/>
            <a:ext cx="2333909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rtl="0">
              <a:buFont typeface="Arial" panose="020B0604020202020204" pitchFamily="34" charset="0"/>
              <a:buNone/>
              <a:def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consectetu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</p:txBody>
      </p:sp>
      <p:sp>
        <p:nvSpPr>
          <p:cNvPr id="42" name="Text Placeholder 30">
            <a:extLst>
              <a:ext uri="{FF2B5EF4-FFF2-40B4-BE49-F238E27FC236}">
                <a16:creationId xmlns:a16="http://schemas.microsoft.com/office/drawing/2014/main" id="{8A4137EA-4223-40BC-C2C4-AA829102C22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30926" y="5597440"/>
            <a:ext cx="2333909" cy="19492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rtl="0">
              <a:buFont typeface="Arial" panose="020B0604020202020204" pitchFamily="34" charset="0"/>
              <a:buNone/>
              <a:defRPr lang="en-US" sz="12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>
              <a:lnSpc>
                <a:spcPct val="110000"/>
              </a:lnSpc>
              <a:spcBef>
                <a:spcPct val="0"/>
              </a:spcBef>
            </a:pPr>
            <a:r>
              <a:rPr lang="en-US" dirty="0"/>
              <a:t>Lorem ipsum</a:t>
            </a:r>
          </a:p>
        </p:txBody>
      </p:sp>
      <p:sp>
        <p:nvSpPr>
          <p:cNvPr id="43" name="Text Placeholder 30">
            <a:extLst>
              <a:ext uri="{FF2B5EF4-FFF2-40B4-BE49-F238E27FC236}">
                <a16:creationId xmlns:a16="http://schemas.microsoft.com/office/drawing/2014/main" id="{5BFC1C72-402D-FD66-3966-D8B396E8EF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0926" y="5828549"/>
            <a:ext cx="2333909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rtl="0">
              <a:buFont typeface="Arial" panose="020B0604020202020204" pitchFamily="34" charset="0"/>
              <a:buNone/>
              <a:defRPr lang="en-US" sz="11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consectetu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</p:txBody>
      </p:sp>
      <p:sp>
        <p:nvSpPr>
          <p:cNvPr id="45" name="Text Placeholder 30">
            <a:extLst>
              <a:ext uri="{FF2B5EF4-FFF2-40B4-BE49-F238E27FC236}">
                <a16:creationId xmlns:a16="http://schemas.microsoft.com/office/drawing/2014/main" id="{56CF9936-953B-1984-FD34-E60FDB234B6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777226" y="3866839"/>
            <a:ext cx="950430" cy="19492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rtl="0">
              <a:buFont typeface="Arial" panose="020B0604020202020204" pitchFamily="34" charset="0"/>
              <a:buNone/>
              <a:defRPr lang="en-US" sz="12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>
              <a:lnSpc>
                <a:spcPct val="110000"/>
              </a:lnSpc>
              <a:spcBef>
                <a:spcPct val="0"/>
              </a:spcBef>
            </a:pPr>
            <a:r>
              <a:rPr lang="en-US" dirty="0"/>
              <a:t>Lorem ipsum</a:t>
            </a:r>
          </a:p>
        </p:txBody>
      </p:sp>
      <p:sp>
        <p:nvSpPr>
          <p:cNvPr id="69" name="Text Placeholder 67">
            <a:extLst>
              <a:ext uri="{FF2B5EF4-FFF2-40B4-BE49-F238E27FC236}">
                <a16:creationId xmlns:a16="http://schemas.microsoft.com/office/drawing/2014/main" id="{0C649FED-2C3E-8AA1-C8A5-79FF3AF33C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2159" y="2652713"/>
            <a:ext cx="1876144" cy="677422"/>
          </a:xfrm>
          <a:prstGeom prst="rightArrow">
            <a:avLst>
              <a:gd name="adj1" fmla="val 68603"/>
              <a:gd name="adj2" fmla="val 4654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en-GB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70" name="Text Placeholder 67">
            <a:extLst>
              <a:ext uri="{FF2B5EF4-FFF2-40B4-BE49-F238E27FC236}">
                <a16:creationId xmlns:a16="http://schemas.microsoft.com/office/drawing/2014/main" id="{BFC2753A-894B-11F2-0341-26A4FCFF3FD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62159" y="3553716"/>
            <a:ext cx="1876144" cy="677422"/>
          </a:xfrm>
          <a:prstGeom prst="rightArrow">
            <a:avLst>
              <a:gd name="adj1" fmla="val 68603"/>
              <a:gd name="adj2" fmla="val 4654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en-GB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71" name="Text Placeholder 67">
            <a:extLst>
              <a:ext uri="{FF2B5EF4-FFF2-40B4-BE49-F238E27FC236}">
                <a16:creationId xmlns:a16="http://schemas.microsoft.com/office/drawing/2014/main" id="{7678197A-CAB6-0AFD-BE30-7ABB2CA360D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2159" y="4465269"/>
            <a:ext cx="1876144" cy="677422"/>
          </a:xfrm>
          <a:prstGeom prst="rightArrow">
            <a:avLst>
              <a:gd name="adj1" fmla="val 68603"/>
              <a:gd name="adj2" fmla="val 4654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en-GB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74" name="Text Placeholder 67">
            <a:extLst>
              <a:ext uri="{FF2B5EF4-FFF2-40B4-BE49-F238E27FC236}">
                <a16:creationId xmlns:a16="http://schemas.microsoft.com/office/drawing/2014/main" id="{F3FDBD33-D344-BC62-65FE-6D24ED1615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33300" y="3625590"/>
            <a:ext cx="992766" cy="677422"/>
          </a:xfrm>
          <a:prstGeom prst="rightArrow">
            <a:avLst>
              <a:gd name="adj1" fmla="val 68603"/>
              <a:gd name="adj2" fmla="val 4654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en-GB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961400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8C5D46-9A06-4913-998B-EEB990B11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3049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8C5D46-9A06-4913-998B-EEB990B11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E14D622-941F-4567-B0DF-C5DE5942EA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BE3C41-02E6-32C3-906B-280EE8F70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39C363-DBCB-880F-DCDA-6010CB66A18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sz="800"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9642D69-9F65-E33D-FB5F-680216AA6E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5C388B0-F950-BC79-7AE8-5492EB5D63A1}"/>
              </a:ext>
            </a:extLst>
          </p:cNvPr>
          <p:cNvSpPr/>
          <p:nvPr userDrawn="1"/>
        </p:nvSpPr>
        <p:spPr>
          <a:xfrm>
            <a:off x="4521786" y="2629871"/>
            <a:ext cx="2364840" cy="23648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6AD89EA-0CD7-636E-2287-A40F25597792}"/>
              </a:ext>
            </a:extLst>
          </p:cNvPr>
          <p:cNvGrpSpPr/>
          <p:nvPr userDrawn="1"/>
        </p:nvGrpSpPr>
        <p:grpSpPr>
          <a:xfrm>
            <a:off x="7149240" y="2378808"/>
            <a:ext cx="356475" cy="392629"/>
            <a:chOff x="4001791" y="1086340"/>
            <a:chExt cx="356475" cy="392629"/>
          </a:xfrm>
          <a:solidFill>
            <a:schemeClr val="accent3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A9E31399-29C0-1F24-BEC1-E9A53EA39DC0}"/>
                </a:ext>
              </a:extLst>
            </p:cNvPr>
            <p:cNvSpPr/>
            <p:nvPr/>
          </p:nvSpPr>
          <p:spPr>
            <a:xfrm>
              <a:off x="4001791" y="1220825"/>
              <a:ext cx="258144" cy="25814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49A1EC3-92FE-AE99-6B9D-AFA5437A86F2}"/>
                </a:ext>
              </a:extLst>
            </p:cNvPr>
            <p:cNvSpPr/>
            <p:nvPr/>
          </p:nvSpPr>
          <p:spPr>
            <a:xfrm>
              <a:off x="4255260" y="1086340"/>
              <a:ext cx="103006" cy="10300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EB5DCF4-24F8-335C-09EC-62953C3B786E}"/>
              </a:ext>
            </a:extLst>
          </p:cNvPr>
          <p:cNvGrpSpPr/>
          <p:nvPr userDrawn="1"/>
        </p:nvGrpSpPr>
        <p:grpSpPr>
          <a:xfrm rot="14842870">
            <a:off x="3763292" y="4056736"/>
            <a:ext cx="356475" cy="392629"/>
            <a:chOff x="4183765" y="445632"/>
            <a:chExt cx="356475" cy="392629"/>
          </a:xfrm>
          <a:solidFill>
            <a:schemeClr val="accent3"/>
          </a:solidFill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F8E14E49-DE20-7EB7-0AEE-6DA25812BF1F}"/>
                </a:ext>
              </a:extLst>
            </p:cNvPr>
            <p:cNvSpPr/>
            <p:nvPr/>
          </p:nvSpPr>
          <p:spPr>
            <a:xfrm rot="5400000">
              <a:off x="4183765" y="580117"/>
              <a:ext cx="258144" cy="25814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D3CBBE2-EB65-DE14-A52A-6DEB5BF1E397}"/>
                </a:ext>
              </a:extLst>
            </p:cNvPr>
            <p:cNvSpPr/>
            <p:nvPr/>
          </p:nvSpPr>
          <p:spPr>
            <a:xfrm rot="5400000">
              <a:off x="4437234" y="445632"/>
              <a:ext cx="103006" cy="10300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209E8EC4-F40D-A81D-9D0C-EAE37EE1B193}"/>
              </a:ext>
            </a:extLst>
          </p:cNvPr>
          <p:cNvSpPr/>
          <p:nvPr userDrawn="1"/>
        </p:nvSpPr>
        <p:spPr>
          <a:xfrm>
            <a:off x="6896986" y="4905487"/>
            <a:ext cx="153980" cy="15398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59215F7-7C4F-F657-F77A-A5E4332341A8}"/>
              </a:ext>
            </a:extLst>
          </p:cNvPr>
          <p:cNvSpPr/>
          <p:nvPr/>
        </p:nvSpPr>
        <p:spPr>
          <a:xfrm>
            <a:off x="5459862" y="1306309"/>
            <a:ext cx="1706782" cy="170678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2DF81CD-C001-B191-FA38-6DBA321AA002}"/>
              </a:ext>
            </a:extLst>
          </p:cNvPr>
          <p:cNvSpPr/>
          <p:nvPr/>
        </p:nvSpPr>
        <p:spPr>
          <a:xfrm>
            <a:off x="5668372" y="1514819"/>
            <a:ext cx="1289762" cy="128976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3EE18E4-834B-B759-C223-3144E51AEF3D}"/>
              </a:ext>
            </a:extLst>
          </p:cNvPr>
          <p:cNvSpPr/>
          <p:nvPr userDrawn="1"/>
        </p:nvSpPr>
        <p:spPr>
          <a:xfrm>
            <a:off x="4847645" y="2914480"/>
            <a:ext cx="1757534" cy="175753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6BE8828-18F8-1740-E7EA-822647AAA567}"/>
              </a:ext>
            </a:extLst>
          </p:cNvPr>
          <p:cNvSpPr/>
          <p:nvPr/>
        </p:nvSpPr>
        <p:spPr>
          <a:xfrm>
            <a:off x="3705503" y="2864231"/>
            <a:ext cx="1166428" cy="116642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1E04D32A-4F45-E4EE-6C79-4E472E5F2E6F}"/>
              </a:ext>
            </a:extLst>
          </p:cNvPr>
          <p:cNvSpPr/>
          <p:nvPr/>
        </p:nvSpPr>
        <p:spPr>
          <a:xfrm>
            <a:off x="3902697" y="3061424"/>
            <a:ext cx="772041" cy="77204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CE72A09B-3AB4-6A0D-69E5-779DB53CEF01}"/>
              </a:ext>
            </a:extLst>
          </p:cNvPr>
          <p:cNvSpPr/>
          <p:nvPr/>
        </p:nvSpPr>
        <p:spPr>
          <a:xfrm>
            <a:off x="6692686" y="3364207"/>
            <a:ext cx="1403509" cy="140350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7935942A-2B28-068A-BDB0-F50EBE986628}"/>
              </a:ext>
            </a:extLst>
          </p:cNvPr>
          <p:cNvSpPr/>
          <p:nvPr/>
        </p:nvSpPr>
        <p:spPr>
          <a:xfrm>
            <a:off x="6893458" y="3564979"/>
            <a:ext cx="1001964" cy="100196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AEC95467-3A4D-B0C3-21BF-3319740E17CA}"/>
              </a:ext>
            </a:extLst>
          </p:cNvPr>
          <p:cNvSpPr/>
          <p:nvPr/>
        </p:nvSpPr>
        <p:spPr>
          <a:xfrm>
            <a:off x="3898571" y="4362884"/>
            <a:ext cx="1691685" cy="169168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07E5240D-86D6-7A97-0C6F-C6FC77F3F509}"/>
              </a:ext>
            </a:extLst>
          </p:cNvPr>
          <p:cNvSpPr/>
          <p:nvPr/>
        </p:nvSpPr>
        <p:spPr>
          <a:xfrm>
            <a:off x="4122695" y="4565698"/>
            <a:ext cx="1264745" cy="126474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3F31B01-ED68-B49A-6216-59CBBD1EDB9C}"/>
              </a:ext>
            </a:extLst>
          </p:cNvPr>
          <p:cNvCxnSpPr>
            <a:cxnSpLocks/>
          </p:cNvCxnSpPr>
          <p:nvPr/>
        </p:nvCxnSpPr>
        <p:spPr>
          <a:xfrm flipV="1">
            <a:off x="7369117" y="2047598"/>
            <a:ext cx="1751907" cy="1066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1E8E408-EA50-62F7-F9A0-D1AC0FC73CF9}"/>
              </a:ext>
            </a:extLst>
          </p:cNvPr>
          <p:cNvCxnSpPr/>
          <p:nvPr/>
        </p:nvCxnSpPr>
        <p:spPr>
          <a:xfrm flipV="1">
            <a:off x="3085159" y="2656769"/>
            <a:ext cx="191365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D518BDE3-4C97-87CF-DE74-B112E9540A7B}"/>
              </a:ext>
            </a:extLst>
          </p:cNvPr>
          <p:cNvCxnSpPr>
            <a:cxnSpLocks/>
          </p:cNvCxnSpPr>
          <p:nvPr/>
        </p:nvCxnSpPr>
        <p:spPr>
          <a:xfrm flipV="1">
            <a:off x="8084127" y="4681823"/>
            <a:ext cx="1036897" cy="533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4AB53A37-CE9C-8FBE-1607-F7818F3882FD}"/>
              </a:ext>
            </a:extLst>
          </p:cNvPr>
          <p:cNvCxnSpPr>
            <a:cxnSpLocks/>
          </p:cNvCxnSpPr>
          <p:nvPr/>
        </p:nvCxnSpPr>
        <p:spPr>
          <a:xfrm>
            <a:off x="3085159" y="3543807"/>
            <a:ext cx="40419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A1FF262A-F5D3-FF9E-2D3E-85606010A060}"/>
              </a:ext>
            </a:extLst>
          </p:cNvPr>
          <p:cNvCxnSpPr>
            <a:cxnSpLocks/>
          </p:cNvCxnSpPr>
          <p:nvPr/>
        </p:nvCxnSpPr>
        <p:spPr>
          <a:xfrm>
            <a:off x="3032980" y="5014355"/>
            <a:ext cx="71674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Oval 83">
            <a:extLst>
              <a:ext uri="{FF2B5EF4-FFF2-40B4-BE49-F238E27FC236}">
                <a16:creationId xmlns:a16="http://schemas.microsoft.com/office/drawing/2014/main" id="{1E1991D7-51CA-3F67-2221-680D9A7B528D}"/>
              </a:ext>
            </a:extLst>
          </p:cNvPr>
          <p:cNvSpPr/>
          <p:nvPr/>
        </p:nvSpPr>
        <p:spPr>
          <a:xfrm>
            <a:off x="5219122" y="2096625"/>
            <a:ext cx="153980" cy="15398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</a:p>
        </p:txBody>
      </p:sp>
      <p:sp>
        <p:nvSpPr>
          <p:cNvPr id="97" name="Text Placeholder 95">
            <a:extLst>
              <a:ext uri="{FF2B5EF4-FFF2-40B4-BE49-F238E27FC236}">
                <a16:creationId xmlns:a16="http://schemas.microsoft.com/office/drawing/2014/main" id="{72E0BC3D-3604-F608-D7E0-E8B49C6096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75560" y="1960671"/>
            <a:ext cx="475387" cy="398058"/>
          </a:xfrm>
        </p:spPr>
        <p:txBody>
          <a:bodyPr>
            <a:spAutoFit/>
          </a:bodyPr>
          <a:lstStyle>
            <a:lvl1pPr marL="0" indent="0" algn="ctr">
              <a:buNone/>
              <a:defRPr sz="1200" b="1"/>
            </a:lvl1pPr>
          </a:lstStyle>
          <a:p>
            <a:pPr lvl="0"/>
            <a:r>
              <a:rPr lang="en-US" dirty="0"/>
              <a:t>Lorem </a:t>
            </a:r>
            <a:br>
              <a:rPr lang="en-US" dirty="0"/>
            </a:br>
            <a:r>
              <a:rPr lang="en-US" dirty="0"/>
              <a:t>ipsum</a:t>
            </a:r>
          </a:p>
        </p:txBody>
      </p:sp>
      <p:sp>
        <p:nvSpPr>
          <p:cNvPr id="98" name="Text Placeholder 95">
            <a:extLst>
              <a:ext uri="{FF2B5EF4-FFF2-40B4-BE49-F238E27FC236}">
                <a16:creationId xmlns:a16="http://schemas.microsoft.com/office/drawing/2014/main" id="{47B8802E-D781-DFFB-5262-86206FC6CB7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88719" y="3594218"/>
            <a:ext cx="475387" cy="398058"/>
          </a:xfrm>
        </p:spPr>
        <p:txBody>
          <a:bodyPr>
            <a:spAutoFit/>
          </a:bodyPr>
          <a:lstStyle>
            <a:lvl1pPr marL="0" indent="0" algn="ctr">
              <a:buNone/>
              <a:defRPr sz="1200" b="1"/>
            </a:lvl1pPr>
          </a:lstStyle>
          <a:p>
            <a:pPr lvl="0"/>
            <a:r>
              <a:rPr lang="en-US" dirty="0"/>
              <a:t>Lorem </a:t>
            </a:r>
            <a:br>
              <a:rPr lang="en-US" dirty="0"/>
            </a:br>
            <a:r>
              <a:rPr lang="en-US" dirty="0"/>
              <a:t>ipsum</a:t>
            </a:r>
          </a:p>
        </p:txBody>
      </p:sp>
      <p:sp>
        <p:nvSpPr>
          <p:cNvPr id="99" name="Text Placeholder 95">
            <a:extLst>
              <a:ext uri="{FF2B5EF4-FFF2-40B4-BE49-F238E27FC236}">
                <a16:creationId xmlns:a16="http://schemas.microsoft.com/office/drawing/2014/main" id="{BEAD4893-E31E-5603-8FCF-BFEB4436AC8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156747" y="3866932"/>
            <a:ext cx="475387" cy="398058"/>
          </a:xfrm>
        </p:spPr>
        <p:txBody>
          <a:bodyPr>
            <a:spAutoFit/>
          </a:bodyPr>
          <a:lstStyle>
            <a:lvl1pPr marL="0" indent="0" algn="ctr">
              <a:buNone/>
              <a:defRPr sz="1200" b="1"/>
            </a:lvl1pPr>
          </a:lstStyle>
          <a:p>
            <a:pPr lvl="0"/>
            <a:r>
              <a:rPr lang="en-US" dirty="0"/>
              <a:t>Lorem </a:t>
            </a:r>
            <a:br>
              <a:rPr lang="en-US" dirty="0"/>
            </a:br>
            <a:r>
              <a:rPr lang="en-US" dirty="0"/>
              <a:t>ipsum</a:t>
            </a:r>
          </a:p>
        </p:txBody>
      </p:sp>
      <p:sp>
        <p:nvSpPr>
          <p:cNvPr id="100" name="Text Placeholder 95">
            <a:extLst>
              <a:ext uri="{FF2B5EF4-FFF2-40B4-BE49-F238E27FC236}">
                <a16:creationId xmlns:a16="http://schemas.microsoft.com/office/drawing/2014/main" id="{0FABD411-7255-2AA3-41B2-E3548D48499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051024" y="3248416"/>
            <a:ext cx="475387" cy="398058"/>
          </a:xfrm>
        </p:spPr>
        <p:txBody>
          <a:bodyPr>
            <a:spAutoFit/>
          </a:bodyPr>
          <a:lstStyle>
            <a:lvl1pPr marL="0" indent="0" algn="ctr">
              <a:buNone/>
              <a:defRPr sz="1200" b="1"/>
            </a:lvl1pPr>
          </a:lstStyle>
          <a:p>
            <a:pPr lvl="0"/>
            <a:r>
              <a:rPr lang="en-US" dirty="0"/>
              <a:t>Lorem </a:t>
            </a:r>
            <a:br>
              <a:rPr lang="en-US" dirty="0"/>
            </a:br>
            <a:r>
              <a:rPr lang="en-US" dirty="0"/>
              <a:t>ipsum</a:t>
            </a:r>
          </a:p>
        </p:txBody>
      </p:sp>
      <p:sp>
        <p:nvSpPr>
          <p:cNvPr id="101" name="Text Placeholder 95">
            <a:extLst>
              <a:ext uri="{FF2B5EF4-FFF2-40B4-BE49-F238E27FC236}">
                <a16:creationId xmlns:a16="http://schemas.microsoft.com/office/drawing/2014/main" id="{20F57B05-9878-95C8-EE26-EA223363943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17374" y="4999041"/>
            <a:ext cx="475387" cy="398058"/>
          </a:xfrm>
        </p:spPr>
        <p:txBody>
          <a:bodyPr>
            <a:spAutoFit/>
          </a:bodyPr>
          <a:lstStyle>
            <a:lvl1pPr marL="0" indent="0" algn="ctr">
              <a:buNone/>
              <a:defRPr sz="1200" b="1"/>
            </a:lvl1pPr>
          </a:lstStyle>
          <a:p>
            <a:pPr lvl="0"/>
            <a:r>
              <a:rPr lang="en-US" dirty="0"/>
              <a:t>Lorem </a:t>
            </a:r>
            <a:br>
              <a:rPr lang="en-US" dirty="0"/>
            </a:br>
            <a:r>
              <a:rPr lang="en-US" dirty="0"/>
              <a:t>ipsum</a:t>
            </a:r>
          </a:p>
        </p:txBody>
      </p:sp>
      <p:sp>
        <p:nvSpPr>
          <p:cNvPr id="105" name="Text Placeholder 102">
            <a:extLst>
              <a:ext uri="{FF2B5EF4-FFF2-40B4-BE49-F238E27FC236}">
                <a16:creationId xmlns:a16="http://schemas.microsoft.com/office/drawing/2014/main" id="{C749CF26-6051-BC59-301A-E318666E9A8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747073" y="4834719"/>
            <a:ext cx="356616" cy="356616"/>
          </a:xfrm>
          <a:prstGeom prst="ellipse">
            <a:avLst/>
          </a:prstGeom>
          <a:solidFill>
            <a:srgbClr val="08283B"/>
          </a:solidFill>
        </p:spPr>
        <p:txBody>
          <a:bodyPr anchor="ctr"/>
          <a:lstStyle>
            <a:lvl1pPr marL="0" indent="0" algn="ctr" rtl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#</a:t>
            </a:r>
            <a:endParaRPr lang="en-GB" dirty="0"/>
          </a:p>
        </p:txBody>
      </p:sp>
      <p:sp>
        <p:nvSpPr>
          <p:cNvPr id="107" name="Text Placeholder 102">
            <a:extLst>
              <a:ext uri="{FF2B5EF4-FFF2-40B4-BE49-F238E27FC236}">
                <a16:creationId xmlns:a16="http://schemas.microsoft.com/office/drawing/2014/main" id="{9B4B9D0B-1125-0741-1156-F6AE5A7AADA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86696" y="3366826"/>
            <a:ext cx="356616" cy="356616"/>
          </a:xfrm>
          <a:prstGeom prst="ellipse">
            <a:avLst/>
          </a:prstGeom>
          <a:solidFill>
            <a:srgbClr val="08283B"/>
          </a:solidFill>
        </p:spPr>
        <p:txBody>
          <a:bodyPr anchor="ctr"/>
          <a:lstStyle>
            <a:lvl1pPr marL="0" indent="0" algn="ctr" rtl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#</a:t>
            </a:r>
            <a:endParaRPr lang="en-GB" dirty="0"/>
          </a:p>
        </p:txBody>
      </p:sp>
      <p:sp>
        <p:nvSpPr>
          <p:cNvPr id="109" name="Text Placeholder 102">
            <a:extLst>
              <a:ext uri="{FF2B5EF4-FFF2-40B4-BE49-F238E27FC236}">
                <a16:creationId xmlns:a16="http://schemas.microsoft.com/office/drawing/2014/main" id="{D1E0CC8E-A12B-DDB6-0533-6C92D395396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993233" y="2492644"/>
            <a:ext cx="356616" cy="356616"/>
          </a:xfrm>
          <a:prstGeom prst="ellipse">
            <a:avLst/>
          </a:prstGeom>
          <a:solidFill>
            <a:srgbClr val="08283B"/>
          </a:solidFill>
        </p:spPr>
        <p:txBody>
          <a:bodyPr anchor="ctr"/>
          <a:lstStyle>
            <a:lvl1pPr marL="0" indent="0" algn="ctr" rtl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#</a:t>
            </a:r>
            <a:endParaRPr lang="en-GB" dirty="0"/>
          </a:p>
        </p:txBody>
      </p:sp>
      <p:sp>
        <p:nvSpPr>
          <p:cNvPr id="111" name="Text Placeholder 102">
            <a:extLst>
              <a:ext uri="{FF2B5EF4-FFF2-40B4-BE49-F238E27FC236}">
                <a16:creationId xmlns:a16="http://schemas.microsoft.com/office/drawing/2014/main" id="{8EBC285D-4B5B-184F-D146-9F1E2E60441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015156" y="1881285"/>
            <a:ext cx="356616" cy="356616"/>
          </a:xfrm>
          <a:prstGeom prst="ellipse">
            <a:avLst/>
          </a:prstGeom>
          <a:solidFill>
            <a:srgbClr val="08283B"/>
          </a:solidFill>
        </p:spPr>
        <p:txBody>
          <a:bodyPr anchor="ctr"/>
          <a:lstStyle>
            <a:lvl1pPr marL="0" indent="0" algn="ctr" rtl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#</a:t>
            </a:r>
            <a:endParaRPr lang="en-GB" dirty="0"/>
          </a:p>
        </p:txBody>
      </p:sp>
      <p:sp>
        <p:nvSpPr>
          <p:cNvPr id="113" name="Text Placeholder 102">
            <a:extLst>
              <a:ext uri="{FF2B5EF4-FFF2-40B4-BE49-F238E27FC236}">
                <a16:creationId xmlns:a16="http://schemas.microsoft.com/office/drawing/2014/main" id="{7B45592C-3625-A51F-6AC6-8F1480AAC10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730166" y="4507522"/>
            <a:ext cx="356616" cy="356616"/>
          </a:xfrm>
          <a:prstGeom prst="ellipse">
            <a:avLst/>
          </a:prstGeom>
          <a:solidFill>
            <a:srgbClr val="08283B"/>
          </a:solidFill>
        </p:spPr>
        <p:txBody>
          <a:bodyPr anchor="ctr"/>
          <a:lstStyle>
            <a:lvl1pPr marL="0" indent="0" algn="ctr" rtl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#</a:t>
            </a:r>
            <a:endParaRPr lang="en-GB" dirty="0"/>
          </a:p>
        </p:txBody>
      </p:sp>
      <p:sp>
        <p:nvSpPr>
          <p:cNvPr id="115" name="Text Placeholder 95">
            <a:extLst>
              <a:ext uri="{FF2B5EF4-FFF2-40B4-BE49-F238E27FC236}">
                <a16:creationId xmlns:a16="http://schemas.microsoft.com/office/drawing/2014/main" id="{CA30587C-279D-B900-1A20-B16BCD3FC71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36306" y="1960671"/>
            <a:ext cx="2408526" cy="369332"/>
          </a:xfrm>
        </p:spPr>
        <p:txBody>
          <a:bodyPr>
            <a:spAutoFit/>
          </a:bodyPr>
          <a:lstStyle>
            <a:lvl1pPr marL="0" indent="0" algn="l">
              <a:buNone/>
              <a:defRPr sz="12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consectetu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</p:txBody>
      </p:sp>
      <p:sp>
        <p:nvSpPr>
          <p:cNvPr id="116" name="Text Placeholder 95">
            <a:extLst>
              <a:ext uri="{FF2B5EF4-FFF2-40B4-BE49-F238E27FC236}">
                <a16:creationId xmlns:a16="http://schemas.microsoft.com/office/drawing/2014/main" id="{9D35F99C-ED3F-CD3B-8D9A-BD4B37F27E9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236306" y="4567368"/>
            <a:ext cx="2408526" cy="369332"/>
          </a:xfrm>
        </p:spPr>
        <p:txBody>
          <a:bodyPr>
            <a:spAutoFit/>
          </a:bodyPr>
          <a:lstStyle>
            <a:lvl1pPr marL="0" indent="0" algn="l">
              <a:buNone/>
              <a:defRPr sz="12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consectetu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</p:txBody>
      </p:sp>
      <p:sp>
        <p:nvSpPr>
          <p:cNvPr id="117" name="Text Placeholder 95">
            <a:extLst>
              <a:ext uri="{FF2B5EF4-FFF2-40B4-BE49-F238E27FC236}">
                <a16:creationId xmlns:a16="http://schemas.microsoft.com/office/drawing/2014/main" id="{C77E6634-4323-C141-05AA-82B58A9AE4F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3400" y="4931246"/>
            <a:ext cx="2408526" cy="369332"/>
          </a:xfrm>
        </p:spPr>
        <p:txBody>
          <a:bodyPr>
            <a:spAutoFit/>
          </a:bodyPr>
          <a:lstStyle>
            <a:lvl1pPr marL="0" indent="0" algn="r">
              <a:buNone/>
              <a:defRPr sz="12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consectetu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</p:txBody>
      </p:sp>
      <p:sp>
        <p:nvSpPr>
          <p:cNvPr id="120" name="Text Placeholder 95">
            <a:extLst>
              <a:ext uri="{FF2B5EF4-FFF2-40B4-BE49-F238E27FC236}">
                <a16:creationId xmlns:a16="http://schemas.microsoft.com/office/drawing/2014/main" id="{60124457-4302-8DA2-6C86-F9B71538C91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33400" y="3483446"/>
            <a:ext cx="2408526" cy="369332"/>
          </a:xfrm>
        </p:spPr>
        <p:txBody>
          <a:bodyPr>
            <a:spAutoFit/>
          </a:bodyPr>
          <a:lstStyle>
            <a:lvl1pPr marL="0" indent="0" algn="r">
              <a:buNone/>
              <a:defRPr sz="12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consectetu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</p:txBody>
      </p:sp>
      <p:sp>
        <p:nvSpPr>
          <p:cNvPr id="121" name="Text Placeholder 95">
            <a:extLst>
              <a:ext uri="{FF2B5EF4-FFF2-40B4-BE49-F238E27FC236}">
                <a16:creationId xmlns:a16="http://schemas.microsoft.com/office/drawing/2014/main" id="{CA959BB7-854E-12BF-76CD-218280DC198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33400" y="2575811"/>
            <a:ext cx="2408526" cy="369332"/>
          </a:xfrm>
        </p:spPr>
        <p:txBody>
          <a:bodyPr>
            <a:spAutoFit/>
          </a:bodyPr>
          <a:lstStyle>
            <a:lvl1pPr marL="0" indent="0" algn="r">
              <a:buNone/>
              <a:defRPr sz="12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consectetu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46784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C3B0F8C-76B6-4AC4-AE39-16D072D3C3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6717826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C3B0F8C-76B6-4AC4-AE39-16D072D3C3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44ACD35-97EE-7EFD-4C4F-5A29179981FA}"/>
              </a:ext>
            </a:extLst>
          </p:cNvPr>
          <p:cNvSpPr/>
          <p:nvPr userDrawn="1"/>
        </p:nvSpPr>
        <p:spPr>
          <a:xfrm>
            <a:off x="464457" y="1914213"/>
            <a:ext cx="1850772" cy="3233666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  <a:ea typeface="+mn-ea"/>
              <a:cs typeface="+mn-cs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A5F07721-FE07-8F02-4119-ED1E4433EC1F}"/>
              </a:ext>
            </a:extLst>
          </p:cNvPr>
          <p:cNvSpPr/>
          <p:nvPr userDrawn="1"/>
        </p:nvSpPr>
        <p:spPr>
          <a:xfrm>
            <a:off x="2817535" y="1914213"/>
            <a:ext cx="1850772" cy="3233666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4794A96-84D0-EC37-5522-574FE2C6F268}"/>
              </a:ext>
            </a:extLst>
          </p:cNvPr>
          <p:cNvSpPr/>
          <p:nvPr userDrawn="1"/>
        </p:nvSpPr>
        <p:spPr>
          <a:xfrm>
            <a:off x="5170614" y="1914213"/>
            <a:ext cx="1850772" cy="3233666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D176D9A-1677-0DC9-423B-8646C57570AD}"/>
              </a:ext>
            </a:extLst>
          </p:cNvPr>
          <p:cNvSpPr/>
          <p:nvPr userDrawn="1"/>
        </p:nvSpPr>
        <p:spPr>
          <a:xfrm>
            <a:off x="7523693" y="1914213"/>
            <a:ext cx="1850772" cy="3233666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1356C95-233D-B559-F27E-114C5C47960D}"/>
              </a:ext>
            </a:extLst>
          </p:cNvPr>
          <p:cNvSpPr/>
          <p:nvPr userDrawn="1"/>
        </p:nvSpPr>
        <p:spPr>
          <a:xfrm>
            <a:off x="9876772" y="1914213"/>
            <a:ext cx="1850772" cy="3233666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26">
            <a:extLst>
              <a:ext uri="{FF2B5EF4-FFF2-40B4-BE49-F238E27FC236}">
                <a16:creationId xmlns:a16="http://schemas.microsoft.com/office/drawing/2014/main" id="{22F51594-3BB6-9E81-0D13-C52495FE2A1D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08791" y="2990850"/>
            <a:ext cx="1562102" cy="1666875"/>
          </a:xfrm>
          <a:prstGeom prst="rect">
            <a:avLst/>
          </a:prstGeom>
        </p:spPr>
        <p:txBody>
          <a:bodyPr rIns="0" bIns="0" anchor="t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1600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Lorem ipsum dolor sit amet</a:t>
            </a:r>
          </a:p>
        </p:txBody>
      </p:sp>
      <p:sp>
        <p:nvSpPr>
          <p:cNvPr id="13" name="Text Placeholder 26">
            <a:extLst>
              <a:ext uri="{FF2B5EF4-FFF2-40B4-BE49-F238E27FC236}">
                <a16:creationId xmlns:a16="http://schemas.microsoft.com/office/drawing/2014/main" id="{20FBB2DF-4001-1228-0035-BBB115265D90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2961869" y="2990850"/>
            <a:ext cx="1562102" cy="1666875"/>
          </a:xfrm>
          <a:prstGeom prst="rect">
            <a:avLst/>
          </a:prstGeom>
        </p:spPr>
        <p:txBody>
          <a:bodyPr rIns="0" bIns="0" anchor="t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1600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Lorem ipsum dolor sit amet</a:t>
            </a:r>
          </a:p>
        </p:txBody>
      </p:sp>
      <p:sp>
        <p:nvSpPr>
          <p:cNvPr id="15" name="Text Placeholder 26">
            <a:extLst>
              <a:ext uri="{FF2B5EF4-FFF2-40B4-BE49-F238E27FC236}">
                <a16:creationId xmlns:a16="http://schemas.microsoft.com/office/drawing/2014/main" id="{D117DC62-5665-9098-14E4-396113A5CDC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314948" y="2990850"/>
            <a:ext cx="1562102" cy="1666875"/>
          </a:xfrm>
          <a:prstGeom prst="rect">
            <a:avLst/>
          </a:prstGeom>
        </p:spPr>
        <p:txBody>
          <a:bodyPr rIns="0" bIns="0" anchor="t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1600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Lorem ipsum dolor sit amet</a:t>
            </a:r>
          </a:p>
        </p:txBody>
      </p:sp>
      <p:sp>
        <p:nvSpPr>
          <p:cNvPr id="16" name="Text Placeholder 26">
            <a:extLst>
              <a:ext uri="{FF2B5EF4-FFF2-40B4-BE49-F238E27FC236}">
                <a16:creationId xmlns:a16="http://schemas.microsoft.com/office/drawing/2014/main" id="{B83D17EC-7A4B-0F8A-5032-1FAF4E87105B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668027" y="2990850"/>
            <a:ext cx="1562102" cy="1666875"/>
          </a:xfrm>
          <a:prstGeom prst="rect">
            <a:avLst/>
          </a:prstGeom>
        </p:spPr>
        <p:txBody>
          <a:bodyPr rIns="0" bIns="0" anchor="t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1600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Lorem ipsum dolor sit amet</a:t>
            </a:r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D4B93801-6F83-7214-B2A5-E01CEC5FE177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0021106" y="2990850"/>
            <a:ext cx="1562102" cy="1666875"/>
          </a:xfrm>
          <a:prstGeom prst="rect">
            <a:avLst/>
          </a:prstGeom>
        </p:spPr>
        <p:txBody>
          <a:bodyPr rIns="0" bIns="0" anchor="t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1600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Lorem ipsum dolor sit amet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06E8800-F358-E883-0C3F-1642B0B7477B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5A4005-D80E-D392-37B7-7A783D086227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6882CC4-657A-CE8C-9797-CF5B97A342E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296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B3C0F3D-D1AE-4ABB-ABA6-4DDF6D23C2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329168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B3C0F3D-D1AE-4ABB-ABA6-4DDF6D23C2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5759" y="1393371"/>
            <a:ext cx="5608320" cy="45381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393371"/>
            <a:ext cx="5608320" cy="45381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83845B4-F15A-877F-B42C-E74DE5E50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AD6DD3A-EEBE-BEF4-8060-81885E3993F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6969E2-D2CC-ECD2-2EBF-BB83FA10442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215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85EEFD1-87D3-429E-B3F5-AD9C07C80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555248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85EEFD1-87D3-429E-B3F5-AD9C07C80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BB596BB-2E93-2FC3-9A55-0C9677C27221}"/>
              </a:ext>
            </a:extLst>
          </p:cNvPr>
          <p:cNvCxnSpPr>
            <a:cxnSpLocks/>
          </p:cNvCxnSpPr>
          <p:nvPr userDrawn="1"/>
        </p:nvCxnSpPr>
        <p:spPr>
          <a:xfrm flipH="1">
            <a:off x="365125" y="1752980"/>
            <a:ext cx="5608638" cy="1588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3C97A69-5984-B20C-1E89-545DF514CDFC}"/>
              </a:ext>
            </a:extLst>
          </p:cNvPr>
          <p:cNvCxnSpPr>
            <a:cxnSpLocks/>
          </p:cNvCxnSpPr>
          <p:nvPr userDrawn="1"/>
        </p:nvCxnSpPr>
        <p:spPr>
          <a:xfrm flipH="1">
            <a:off x="6218238" y="1752980"/>
            <a:ext cx="5608638" cy="1588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DABA536D-7475-67EE-C274-9B39C15FDB07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365125" y="1393371"/>
            <a:ext cx="5608638" cy="314795"/>
          </a:xfrm>
        </p:spPr>
        <p:txBody>
          <a:bodyPr anchor="b">
            <a:normAutofit/>
          </a:bodyPr>
          <a:lstStyle>
            <a:lvl1pPr marL="0" indent="0" rtl="0">
              <a:buNone/>
              <a:defRPr sz="14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43820" indent="0">
              <a:buNone/>
              <a:defRPr sz="1400" b="1">
                <a:solidFill>
                  <a:schemeClr val="accent3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505F4C07-3BED-E3CB-8957-B1B96594E352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18238" y="1393371"/>
            <a:ext cx="5608638" cy="314795"/>
          </a:xfrm>
        </p:spPr>
        <p:txBody>
          <a:bodyPr anchor="b">
            <a:normAutofit/>
          </a:bodyPr>
          <a:lstStyle>
            <a:lvl1pPr marL="0" indent="0" rtl="0">
              <a:buNone/>
              <a:defRPr sz="14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F0EA-FDEE-A361-2B63-EE15595DDA0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59" y="1856036"/>
            <a:ext cx="5608320" cy="4351322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DA41C875-0C3C-A29C-3B50-6236244029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7920" y="1856036"/>
            <a:ext cx="5608320" cy="4351322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359C1A9-2104-09F4-D49E-CC24593196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3983DE5-706B-350E-5E18-69D4C0B593F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417529-D54D-1423-AA3D-9200DD681EC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396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mpariso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85EEFD1-87D3-429E-B3F5-AD9C07C80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556675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85EEFD1-87D3-429E-B3F5-AD9C07C80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DABA536D-7475-67EE-C274-9B39C15FDB07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65126" y="1393371"/>
            <a:ext cx="5608638" cy="30295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lIns="91440" tIns="0" rIns="91440" bIns="0" anchor="ctr">
            <a:sp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43820" indent="0">
              <a:buNone/>
              <a:defRPr sz="1400" b="1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505F4C07-3BED-E3CB-8957-B1B96594E352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18239" y="1393371"/>
            <a:ext cx="5608638" cy="30295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lIns="91440" tIns="0" rIns="91440" bIns="0" anchor="ctr">
            <a:spAutoFit/>
          </a:bodyPr>
          <a:lstStyle>
            <a:lvl1pPr marL="0" indent="0" rtl="0"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BEF9E1B-0D28-DE74-B6C2-1325398A8E5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59" y="1900779"/>
            <a:ext cx="5608320" cy="4260175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FACF93B-C689-732A-9806-B380CE4D2A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7921" y="1900779"/>
            <a:ext cx="5608320" cy="4260175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4639616-6016-1C64-A0E2-45DC3FDF3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8311F24-1A8A-5D9C-52D8-5B38E61AE4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4B98918-6B68-1FFD-A32E-197263F0745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708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B3C0F3D-D1AE-4ABB-ABA6-4DDF6D23C2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3071752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B3C0F3D-D1AE-4ABB-ABA6-4DDF6D23C2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5759" y="1393371"/>
            <a:ext cx="3659068" cy="4748711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83845B4-F15A-877F-B42C-E74DE5E50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AD6DD3A-EEBE-BEF4-8060-81885E3993F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95A1219-F197-52FD-E5F7-E6D8480974E8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277896" y="1393371"/>
            <a:ext cx="3659068" cy="4748711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C39A781-3B25-025C-306C-7325322336BB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8190032" y="1393371"/>
            <a:ext cx="3659068" cy="4748711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B557F2-D0D4-6472-B2DB-64717F3C39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392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85EEFD1-87D3-429E-B3F5-AD9C07C80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3399437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85EEFD1-87D3-429E-B3F5-AD9C07C80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BB596BB-2E93-2FC3-9A55-0C9677C27221}"/>
              </a:ext>
            </a:extLst>
          </p:cNvPr>
          <p:cNvCxnSpPr>
            <a:cxnSpLocks/>
          </p:cNvCxnSpPr>
          <p:nvPr userDrawn="1"/>
        </p:nvCxnSpPr>
        <p:spPr>
          <a:xfrm flipH="1">
            <a:off x="365125" y="1769042"/>
            <a:ext cx="3659068" cy="1588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DABA536D-7475-67EE-C274-9B39C15FDB07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365125" y="1409433"/>
            <a:ext cx="3659068" cy="314795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43820" indent="0">
              <a:buNone/>
              <a:defRPr sz="1400" b="1">
                <a:solidFill>
                  <a:schemeClr val="accent3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F0EA-FDEE-A361-2B63-EE15595DDA0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59" y="1872098"/>
            <a:ext cx="3659068" cy="4287270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359C1A9-2104-09F4-D49E-CC24593196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3983DE5-706B-350E-5E18-69D4C0B593F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548C7C2-D4F0-A3E6-1104-395F94FD8549}"/>
              </a:ext>
            </a:extLst>
          </p:cNvPr>
          <p:cNvCxnSpPr>
            <a:cxnSpLocks/>
          </p:cNvCxnSpPr>
          <p:nvPr userDrawn="1"/>
        </p:nvCxnSpPr>
        <p:spPr>
          <a:xfrm flipH="1">
            <a:off x="4277261" y="1769042"/>
            <a:ext cx="3659068" cy="1588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069DE3CD-25D5-2FF1-3F65-A2F944F8E742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4277261" y="1409433"/>
            <a:ext cx="3659068" cy="314795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43820" indent="0">
              <a:buNone/>
              <a:defRPr sz="1400" b="1">
                <a:solidFill>
                  <a:schemeClr val="accent3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1BAF027-3B61-4234-7365-82F9DE152E8A}"/>
              </a:ext>
            </a:extLst>
          </p:cNvPr>
          <p:cNvSpPr>
            <a:spLocks noGrp="1"/>
          </p:cNvSpPr>
          <p:nvPr>
            <p:ph sz="half" idx="23"/>
          </p:nvPr>
        </p:nvSpPr>
        <p:spPr>
          <a:xfrm>
            <a:off x="4277261" y="1872098"/>
            <a:ext cx="3659068" cy="4287270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9CAC956-34C8-56C7-87C6-C4A47B22AAA7}"/>
              </a:ext>
            </a:extLst>
          </p:cNvPr>
          <p:cNvCxnSpPr>
            <a:cxnSpLocks/>
          </p:cNvCxnSpPr>
          <p:nvPr userDrawn="1"/>
        </p:nvCxnSpPr>
        <p:spPr>
          <a:xfrm flipH="1">
            <a:off x="8189398" y="1769042"/>
            <a:ext cx="3659068" cy="1588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B0230EEF-E6A6-36F5-1BF2-7392B928DE04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8189398" y="1409433"/>
            <a:ext cx="3659068" cy="314795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43820" indent="0">
              <a:buNone/>
              <a:defRPr sz="1400" b="1">
                <a:solidFill>
                  <a:schemeClr val="accent3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FC3170B6-CD1C-E382-06AE-FE4417BC8599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8190032" y="1872098"/>
            <a:ext cx="3659068" cy="4287270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FC0BA3B9-707F-DBCB-945A-ECE24711C1E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264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85EEFD1-87D3-429E-B3F5-AD9C07C80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6393900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85EEFD1-87D3-429E-B3F5-AD9C07C80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DABA536D-7475-67EE-C274-9B39C15FDB07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65125" y="1393371"/>
            <a:ext cx="3659068" cy="30295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lIns="91440" tIns="0" rIns="91440" bIns="0" anchor="ctr">
            <a:sp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43820" indent="0">
              <a:buNone/>
              <a:defRPr sz="1400" b="1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BEF9E1B-0D28-DE74-B6C2-1325398A8E5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59" y="1900779"/>
            <a:ext cx="3659068" cy="4260175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4639616-6016-1C64-A0E2-45DC3FDF3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8311F24-1A8A-5D9C-52D8-5B38E61AE4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C1FEFDCB-7857-EA4D-2AD9-861AC685C888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4265832" y="1393371"/>
            <a:ext cx="3659068" cy="30295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lIns="91440" tIns="0" rIns="91440" bIns="0" anchor="ctr">
            <a:sp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43820" indent="0">
              <a:buNone/>
              <a:defRPr sz="1400" b="1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C73AC6B-F706-759E-289A-1EC466D1FC82}"/>
              </a:ext>
            </a:extLst>
          </p:cNvPr>
          <p:cNvSpPr>
            <a:spLocks noGrp="1"/>
          </p:cNvSpPr>
          <p:nvPr>
            <p:ph sz="half" idx="23"/>
          </p:nvPr>
        </p:nvSpPr>
        <p:spPr>
          <a:xfrm>
            <a:off x="4266466" y="1900779"/>
            <a:ext cx="3659068" cy="4260175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3F8C73BC-AC4A-4456-1B3A-2E46D9BD2382}"/>
              </a:ext>
            </a:extLst>
          </p:cNvPr>
          <p:cNvSpPr>
            <a:spLocks noGrp="1"/>
          </p:cNvSpPr>
          <p:nvPr>
            <p:ph sz="half" idx="24"/>
          </p:nvPr>
        </p:nvSpPr>
        <p:spPr>
          <a:xfrm>
            <a:off x="8165905" y="1393371"/>
            <a:ext cx="3659068" cy="30295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lIns="91440" tIns="0" rIns="91440" bIns="0" anchor="ctr">
            <a:sp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43820" indent="0">
              <a:buNone/>
              <a:defRPr sz="1400" b="1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C7CF186-D595-BF47-862E-DCC6C6C3A890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8166539" y="1900779"/>
            <a:ext cx="3659068" cy="4260175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13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5BF4460-7B59-F0BC-EBB4-578D16D38F6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95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E5C75BA3-7FEF-F8AB-BF43-52154B490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783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C75BA3-7FEF-F8AB-BF43-52154B490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A62E0823-7135-FEE9-F778-62636785E498}"/>
              </a:ext>
            </a:extLst>
          </p:cNvPr>
          <p:cNvSpPr/>
          <p:nvPr userDrawn="1"/>
        </p:nvSpPr>
        <p:spPr>
          <a:xfrm>
            <a:off x="8096250" y="0"/>
            <a:ext cx="409575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23">
            <a:extLst>
              <a:ext uri="{FF2B5EF4-FFF2-40B4-BE49-F238E27FC236}">
                <a16:creationId xmlns:a16="http://schemas.microsoft.com/office/drawing/2014/main" id="{CED7FAC1-5FBD-7D65-322B-C869D524BE5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2900" y="3440331"/>
            <a:ext cx="2076450" cy="800100"/>
          </a:xfrm>
        </p:spPr>
        <p:txBody>
          <a:bodyPr/>
          <a:lstStyle>
            <a:lvl1pPr marL="0" indent="0">
              <a:buNone/>
              <a:defRPr sz="5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00000</a:t>
            </a:r>
            <a:endParaRPr lang="en-IN" dirty="0"/>
          </a:p>
        </p:txBody>
      </p:sp>
      <p:sp>
        <p:nvSpPr>
          <p:cNvPr id="7" name="Text Placeholder 26">
            <a:extLst>
              <a:ext uri="{FF2B5EF4-FFF2-40B4-BE49-F238E27FC236}">
                <a16:creationId xmlns:a16="http://schemas.microsoft.com/office/drawing/2014/main" id="{464045B5-3A96-90BB-63AA-B564D9C689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900" y="4268788"/>
            <a:ext cx="2076450" cy="219075"/>
          </a:xfrm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  <a:lvl2pPr marL="182880" indent="0">
              <a:buNone/>
              <a:defRPr/>
            </a:lvl2pPr>
            <a:lvl3pPr marL="365760" indent="0">
              <a:buNone/>
              <a:defRPr/>
            </a:lvl3pPr>
            <a:lvl4pPr marL="548640" indent="0">
              <a:buNone/>
              <a:defRPr/>
            </a:lvl4pPr>
            <a:lvl5pPr marL="73152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21BEE370-A25D-85F1-BA4E-15D76F7E675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81325" y="3440331"/>
            <a:ext cx="2076450" cy="800100"/>
          </a:xfrm>
        </p:spPr>
        <p:txBody>
          <a:bodyPr/>
          <a:lstStyle>
            <a:lvl1pPr marL="0" indent="0">
              <a:buNone/>
              <a:defRPr sz="5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00000</a:t>
            </a:r>
            <a:endParaRPr lang="en-IN" dirty="0"/>
          </a:p>
        </p:txBody>
      </p:sp>
      <p:sp>
        <p:nvSpPr>
          <p:cNvPr id="9" name="Text Placeholder 26">
            <a:extLst>
              <a:ext uri="{FF2B5EF4-FFF2-40B4-BE49-F238E27FC236}">
                <a16:creationId xmlns:a16="http://schemas.microsoft.com/office/drawing/2014/main" id="{ACA0BFB2-8605-C615-2FEC-237BCF1C2A9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981325" y="4268788"/>
            <a:ext cx="2076450" cy="219075"/>
          </a:xfrm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  <a:lvl2pPr marL="182880" indent="0">
              <a:buNone/>
              <a:defRPr/>
            </a:lvl2pPr>
            <a:lvl3pPr marL="365760" indent="0">
              <a:buNone/>
              <a:defRPr/>
            </a:lvl3pPr>
            <a:lvl4pPr marL="548640" indent="0">
              <a:buNone/>
              <a:defRPr/>
            </a:lvl4pPr>
            <a:lvl5pPr marL="73152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F97FB32A-6570-965F-83A9-2750755ADD0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2900" y="4621431"/>
            <a:ext cx="2076450" cy="800100"/>
          </a:xfrm>
        </p:spPr>
        <p:txBody>
          <a:bodyPr/>
          <a:lstStyle>
            <a:lvl1pPr marL="0" indent="0">
              <a:buNone/>
              <a:defRPr sz="5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00000</a:t>
            </a:r>
            <a:endParaRPr lang="en-IN" dirty="0"/>
          </a:p>
        </p:txBody>
      </p:sp>
      <p:sp>
        <p:nvSpPr>
          <p:cNvPr id="11" name="Text Placeholder 26">
            <a:extLst>
              <a:ext uri="{FF2B5EF4-FFF2-40B4-BE49-F238E27FC236}">
                <a16:creationId xmlns:a16="http://schemas.microsoft.com/office/drawing/2014/main" id="{31C6CF18-18F4-6AC0-6EB7-6E8A0A37848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2900" y="5449888"/>
            <a:ext cx="2076450" cy="219075"/>
          </a:xfrm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  <a:lvl2pPr marL="182880" indent="0">
              <a:buNone/>
              <a:defRPr/>
            </a:lvl2pPr>
            <a:lvl3pPr marL="365760" indent="0">
              <a:buNone/>
              <a:defRPr/>
            </a:lvl3pPr>
            <a:lvl4pPr marL="548640" indent="0">
              <a:buNone/>
              <a:defRPr/>
            </a:lvl4pPr>
            <a:lvl5pPr marL="73152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3">
            <a:extLst>
              <a:ext uri="{FF2B5EF4-FFF2-40B4-BE49-F238E27FC236}">
                <a16:creationId xmlns:a16="http://schemas.microsoft.com/office/drawing/2014/main" id="{880CF20C-D2C0-3E9E-1898-3BBAB729413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81325" y="4621431"/>
            <a:ext cx="2076450" cy="800100"/>
          </a:xfrm>
        </p:spPr>
        <p:txBody>
          <a:bodyPr/>
          <a:lstStyle>
            <a:lvl1pPr marL="0" indent="0">
              <a:buNone/>
              <a:defRPr sz="5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00000</a:t>
            </a:r>
            <a:endParaRPr lang="en-IN" dirty="0"/>
          </a:p>
        </p:txBody>
      </p:sp>
      <p:sp>
        <p:nvSpPr>
          <p:cNvPr id="13" name="Text Placeholder 26">
            <a:extLst>
              <a:ext uri="{FF2B5EF4-FFF2-40B4-BE49-F238E27FC236}">
                <a16:creationId xmlns:a16="http://schemas.microsoft.com/office/drawing/2014/main" id="{3CE5EA53-3D9F-1613-6A58-BD4BC44B983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981325" y="5449888"/>
            <a:ext cx="2076450" cy="219075"/>
          </a:xfrm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  <a:lvl2pPr marL="182880" indent="0">
              <a:buNone/>
              <a:defRPr/>
            </a:lvl2pPr>
            <a:lvl3pPr marL="365760" indent="0">
              <a:buNone/>
              <a:defRPr/>
            </a:lvl3pPr>
            <a:lvl4pPr marL="548640" indent="0">
              <a:buNone/>
              <a:defRPr/>
            </a:lvl4pPr>
            <a:lvl5pPr marL="73152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8C1868FA-C1B8-2048-73A4-B3DB4D71A23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372100" y="819150"/>
            <a:ext cx="6191250" cy="5372100"/>
          </a:xfrm>
          <a:custGeom>
            <a:avLst/>
            <a:gdLst>
              <a:gd name="connsiteX0" fmla="*/ 2762250 w 6191250"/>
              <a:gd name="connsiteY0" fmla="*/ 0 h 5524500"/>
              <a:gd name="connsiteX1" fmla="*/ 6191250 w 6191250"/>
              <a:gd name="connsiteY1" fmla="*/ 0 h 5524500"/>
              <a:gd name="connsiteX2" fmla="*/ 6191250 w 6191250"/>
              <a:gd name="connsiteY2" fmla="*/ 5524500 h 5524500"/>
              <a:gd name="connsiteX3" fmla="*/ 2762250 w 6191250"/>
              <a:gd name="connsiteY3" fmla="*/ 5524500 h 5524500"/>
              <a:gd name="connsiteX4" fmla="*/ 0 w 6191250"/>
              <a:gd name="connsiteY4" fmla="*/ 2762250 h 5524500"/>
              <a:gd name="connsiteX5" fmla="*/ 2762250 w 6191250"/>
              <a:gd name="connsiteY5" fmla="*/ 0 h 552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1250" h="5524500">
                <a:moveTo>
                  <a:pt x="2762250" y="0"/>
                </a:moveTo>
                <a:lnTo>
                  <a:pt x="6191250" y="0"/>
                </a:lnTo>
                <a:lnTo>
                  <a:pt x="6191250" y="5524500"/>
                </a:lnTo>
                <a:lnTo>
                  <a:pt x="2762250" y="5524500"/>
                </a:lnTo>
                <a:cubicBezTo>
                  <a:pt x="1236701" y="5524500"/>
                  <a:pt x="0" y="4287799"/>
                  <a:pt x="0" y="2762250"/>
                </a:cubicBezTo>
                <a:cubicBezTo>
                  <a:pt x="0" y="1236701"/>
                  <a:pt x="1236701" y="0"/>
                  <a:pt x="27622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rgbClr val="FF5A00"/>
                </a:solidFill>
              </a:defRPr>
            </a:lvl1pPr>
          </a:lstStyle>
          <a:p>
            <a:r>
              <a:rPr lang="en-US" dirty="0"/>
              <a:t>.</a:t>
            </a:r>
            <a:endParaRPr lang="en-IN" dirty="0"/>
          </a:p>
        </p:txBody>
      </p:sp>
      <p:sp>
        <p:nvSpPr>
          <p:cNvPr id="15" name="Text Placeholder 47">
            <a:extLst>
              <a:ext uri="{FF2B5EF4-FFF2-40B4-BE49-F238E27FC236}">
                <a16:creationId xmlns:a16="http://schemas.microsoft.com/office/drawing/2014/main" id="{759674CF-FDAE-516F-047E-AB990D0A406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42900" y="1393128"/>
            <a:ext cx="4714875" cy="1546922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C0E985-0BBE-4FB7-1D37-FB358E1A34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342901"/>
            <a:ext cx="7117442" cy="422275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DF9F0B-F881-A51B-3E55-D59F805B586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01EAE8A0-A487-9444-D38D-7300492266F0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1" name="Picture 20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58504FAE-EACD-652B-3B0F-F58723E8025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94" t="43871" r="21794" b="43871"/>
          <a:stretch/>
        </p:blipFill>
        <p:spPr>
          <a:xfrm>
            <a:off x="10185399" y="411163"/>
            <a:ext cx="1851933" cy="284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946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DF352F-016C-4F53-A5FD-E4B1D46BF1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8433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DF352F-016C-4F53-A5FD-E4B1D46BF1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DB60DE39-D8EF-651A-7364-45818E57976E}"/>
              </a:ext>
            </a:extLst>
          </p:cNvPr>
          <p:cNvSpPr/>
          <p:nvPr userDrawn="1"/>
        </p:nvSpPr>
        <p:spPr>
          <a:xfrm rot="16200000">
            <a:off x="4480383" y="-746584"/>
            <a:ext cx="942975" cy="308383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Grafik 4" descr="Ein Bild, das Text, Kleidung, Menschliches Gesicht, Mann enthält.&#10;&#10;Automatisch generierte Beschreibung">
            <a:extLst>
              <a:ext uri="{FF2B5EF4-FFF2-40B4-BE49-F238E27FC236}">
                <a16:creationId xmlns:a16="http://schemas.microsoft.com/office/drawing/2014/main" id="{EA521F30-2F01-3378-B8A0-A7A6D17166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659"/>
          <a:stretch/>
        </p:blipFill>
        <p:spPr>
          <a:xfrm>
            <a:off x="6291401" y="0"/>
            <a:ext cx="5900599" cy="6858000"/>
          </a:xfrm>
          <a:prstGeom prst="rect">
            <a:avLst/>
          </a:prstGeom>
        </p:spPr>
      </p:pic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98A7E63-A791-4929-A853-EF801F834CD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IN" sz="44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8B1AA85-EDEC-C331-E425-AA9C9A355A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06" y="2340394"/>
            <a:ext cx="5627444" cy="3622256"/>
          </a:xfrm>
        </p:spPr>
        <p:txBody>
          <a:bodyPr vert="horz" anchor="t"/>
          <a:lstStyle>
            <a:lvl1pPr algn="l">
              <a:defRPr sz="6000" b="1" cap="none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D66A7D5-71C5-29B5-F0F3-55466C630B1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5206" y="1831249"/>
            <a:ext cx="5627444" cy="347346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sub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E864730-9BE5-3E94-5B10-C0C3519B9CC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35206" y="6191795"/>
            <a:ext cx="5627444" cy="20309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IN" dirty="0"/>
              <a:t>Date</a:t>
            </a:r>
            <a:endParaRPr lang="en-US" dirty="0"/>
          </a:p>
        </p:txBody>
      </p:sp>
      <p:pic>
        <p:nvPicPr>
          <p:cNvPr id="13" name="Picture 12" descr="A black background with orange and grey text&#10;&#10;Description automatically generated">
            <a:extLst>
              <a:ext uri="{FF2B5EF4-FFF2-40B4-BE49-F238E27FC236}">
                <a16:creationId xmlns:a16="http://schemas.microsoft.com/office/drawing/2014/main" id="{128FF5DA-EF38-57F5-9F4E-0C5CC1B42B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 contrast="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3062" t="45291" r="23062" b="45291"/>
          <a:stretch/>
        </p:blipFill>
        <p:spPr>
          <a:xfrm>
            <a:off x="3788003" y="647576"/>
            <a:ext cx="2257197" cy="279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926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85EEFD1-87D3-429E-B3F5-AD9C07C80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0160343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85EEFD1-87D3-429E-B3F5-AD9C07C80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B1C124E7-5AA6-90DF-98D9-AA502D867C2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342900" y="6296915"/>
            <a:ext cx="5562599" cy="21818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3FAC887-E512-46F3-C345-7C405C6A992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096000" y="0"/>
            <a:ext cx="6096000" cy="6858000"/>
          </a:xfrm>
          <a:solidFill>
            <a:schemeClr val="tx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D0E8588-8F49-56C7-3B6D-33B8BF9CA5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342901"/>
            <a:ext cx="5562599" cy="422275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659F064-0847-9A77-62E4-3905F335DB0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2900" y="1393371"/>
            <a:ext cx="5562600" cy="4767582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B94CA3A-07C1-4684-BD35-89ED5C58C432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ABDE655C-0502-8A88-A6E5-49F6ECD553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94" t="43871" r="21794" b="43871"/>
          <a:stretch/>
        </p:blipFill>
        <p:spPr>
          <a:xfrm>
            <a:off x="10185399" y="411163"/>
            <a:ext cx="1851933" cy="284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058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85EEFD1-87D3-429E-B3F5-AD9C07C80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2852468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85EEFD1-87D3-429E-B3F5-AD9C07C80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8AC9AA69-00C9-3607-5963-58EF580ED3D6}"/>
              </a:ext>
            </a:extLst>
          </p:cNvPr>
          <p:cNvSpPr/>
          <p:nvPr userDrawn="1"/>
        </p:nvSpPr>
        <p:spPr>
          <a:xfrm>
            <a:off x="4324350" y="0"/>
            <a:ext cx="786765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B1C124E7-5AA6-90DF-98D9-AA502D867C2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342900" y="6296915"/>
            <a:ext cx="3676649" cy="21818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D0E8588-8F49-56C7-3B6D-33B8BF9CA5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342901"/>
            <a:ext cx="3676649" cy="422275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88C8C1BC-472C-01B2-674D-600CD42269BC}"/>
              </a:ext>
            </a:extLst>
          </p:cNvPr>
          <p:cNvSpPr/>
          <p:nvPr userDrawn="1"/>
        </p:nvSpPr>
        <p:spPr>
          <a:xfrm rot="13500000">
            <a:off x="7563889" y="-817843"/>
            <a:ext cx="5926969" cy="4088630"/>
          </a:xfrm>
          <a:custGeom>
            <a:avLst/>
            <a:gdLst>
              <a:gd name="connsiteX0" fmla="*/ 713929 w 5926969"/>
              <a:gd name="connsiteY0" fmla="*/ 2148897 h 4088630"/>
              <a:gd name="connsiteX1" fmla="*/ 0 w 5926969"/>
              <a:gd name="connsiteY1" fmla="*/ 1434968 h 4088630"/>
              <a:gd name="connsiteX2" fmla="*/ 0 w 5926969"/>
              <a:gd name="connsiteY2" fmla="*/ 370436 h 4088630"/>
              <a:gd name="connsiteX3" fmla="*/ 356965 w 5926969"/>
              <a:gd name="connsiteY3" fmla="*/ 13471 h 4088630"/>
              <a:gd name="connsiteX4" fmla="*/ 713930 w 5926969"/>
              <a:gd name="connsiteY4" fmla="*/ 370436 h 4088630"/>
              <a:gd name="connsiteX5" fmla="*/ 3361289 w 5926969"/>
              <a:gd name="connsiteY5" fmla="*/ 3381003 h 4088630"/>
              <a:gd name="connsiteX6" fmla="*/ 2653662 w 5926969"/>
              <a:gd name="connsiteY6" fmla="*/ 4088630 h 4088630"/>
              <a:gd name="connsiteX7" fmla="*/ 2647359 w 5926969"/>
              <a:gd name="connsiteY7" fmla="*/ 4082327 h 4088630"/>
              <a:gd name="connsiteX8" fmla="*/ 2647360 w 5926969"/>
              <a:gd name="connsiteY8" fmla="*/ 438588 h 4088630"/>
              <a:gd name="connsiteX9" fmla="*/ 3004325 w 5926969"/>
              <a:gd name="connsiteY9" fmla="*/ 81623 h 4088630"/>
              <a:gd name="connsiteX10" fmla="*/ 3361290 w 5926969"/>
              <a:gd name="connsiteY10" fmla="*/ 438588 h 4088630"/>
              <a:gd name="connsiteX11" fmla="*/ 5926969 w 5926969"/>
              <a:gd name="connsiteY11" fmla="*/ 815324 h 4088630"/>
              <a:gd name="connsiteX12" fmla="*/ 5213039 w 5926969"/>
              <a:gd name="connsiteY12" fmla="*/ 1529253 h 4088630"/>
              <a:gd name="connsiteX13" fmla="*/ 5213039 w 5926969"/>
              <a:gd name="connsiteY13" fmla="*/ 356965 h 4088630"/>
              <a:gd name="connsiteX14" fmla="*/ 5570004 w 5926969"/>
              <a:gd name="connsiteY14" fmla="*/ 0 h 4088630"/>
              <a:gd name="connsiteX15" fmla="*/ 5926969 w 5926969"/>
              <a:gd name="connsiteY15" fmla="*/ 356965 h 4088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926969" h="4088630">
                <a:moveTo>
                  <a:pt x="713929" y="2148897"/>
                </a:moveTo>
                <a:lnTo>
                  <a:pt x="0" y="1434968"/>
                </a:lnTo>
                <a:lnTo>
                  <a:pt x="0" y="370436"/>
                </a:lnTo>
                <a:cubicBezTo>
                  <a:pt x="0" y="173290"/>
                  <a:pt x="159819" y="13471"/>
                  <a:pt x="356965" y="13471"/>
                </a:cubicBezTo>
                <a:cubicBezTo>
                  <a:pt x="554111" y="13471"/>
                  <a:pt x="713930" y="173290"/>
                  <a:pt x="713930" y="370436"/>
                </a:cubicBezTo>
                <a:close/>
                <a:moveTo>
                  <a:pt x="3361289" y="3381003"/>
                </a:moveTo>
                <a:lnTo>
                  <a:pt x="2653662" y="4088630"/>
                </a:lnTo>
                <a:lnTo>
                  <a:pt x="2647359" y="4082327"/>
                </a:lnTo>
                <a:lnTo>
                  <a:pt x="2647360" y="438588"/>
                </a:lnTo>
                <a:cubicBezTo>
                  <a:pt x="2647359" y="241442"/>
                  <a:pt x="2807178" y="81624"/>
                  <a:pt x="3004325" y="81623"/>
                </a:cubicBezTo>
                <a:cubicBezTo>
                  <a:pt x="3201470" y="81623"/>
                  <a:pt x="3361289" y="241442"/>
                  <a:pt x="3361290" y="438588"/>
                </a:cubicBezTo>
                <a:close/>
                <a:moveTo>
                  <a:pt x="5926969" y="815324"/>
                </a:moveTo>
                <a:lnTo>
                  <a:pt x="5213039" y="1529253"/>
                </a:lnTo>
                <a:lnTo>
                  <a:pt x="5213039" y="356965"/>
                </a:lnTo>
                <a:cubicBezTo>
                  <a:pt x="5213039" y="159819"/>
                  <a:pt x="5372858" y="0"/>
                  <a:pt x="5570004" y="0"/>
                </a:cubicBezTo>
                <a:cubicBezTo>
                  <a:pt x="5767150" y="0"/>
                  <a:pt x="5926969" y="159819"/>
                  <a:pt x="5926969" y="356965"/>
                </a:cubicBezTo>
                <a:close/>
              </a:path>
            </a:pathLst>
          </a:custGeom>
          <a:solidFill>
            <a:srgbClr val="0946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030724A-9937-6257-9173-D8BBDCE4BBD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86350" y="1028700"/>
            <a:ext cx="3009900" cy="1162050"/>
          </a:xfrm>
        </p:spPr>
        <p:txBody>
          <a:bodyPr anchor="ctr"/>
          <a:lstStyle>
            <a:lvl1pPr marL="0" indent="0">
              <a:buNone/>
              <a:defRPr sz="115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000</a:t>
            </a:r>
            <a:endParaRPr lang="en-IN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5F16A0-7997-86DA-39B5-3AC157A1FEC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86350" y="2324100"/>
            <a:ext cx="5753100" cy="5715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290F069-26F9-E1E7-EE6A-D1418789DAC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86350" y="3929223"/>
            <a:ext cx="3009900" cy="1162050"/>
          </a:xfrm>
        </p:spPr>
        <p:txBody>
          <a:bodyPr anchor="ctr"/>
          <a:lstStyle>
            <a:lvl1pPr marL="0" indent="0">
              <a:buNone/>
              <a:defRPr sz="115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000</a:t>
            </a:r>
            <a:endParaRPr lang="en-IN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65B0FCA-BA1E-4886-C331-B5DBEBAC1EA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86350" y="5224623"/>
            <a:ext cx="5753100" cy="5715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181F3BE7-E96F-BF49-2651-CADA659B519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1" name="Picture 20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7515F77-799A-4534-E1AF-4297DC303D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94" t="43871" r="21794" b="43871"/>
          <a:stretch/>
        </p:blipFill>
        <p:spPr>
          <a:xfrm>
            <a:off x="10185399" y="411163"/>
            <a:ext cx="1851933" cy="284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1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85EEFD1-87D3-429E-B3F5-AD9C07C80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48028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85EEFD1-87D3-429E-B3F5-AD9C07C80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8AC9AA69-00C9-3607-5963-58EF580ED3D6}"/>
              </a:ext>
            </a:extLst>
          </p:cNvPr>
          <p:cNvSpPr/>
          <p:nvPr userDrawn="1"/>
        </p:nvSpPr>
        <p:spPr>
          <a:xfrm>
            <a:off x="4324350" y="0"/>
            <a:ext cx="786765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B1C124E7-5AA6-90DF-98D9-AA502D867C2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342900" y="6296915"/>
            <a:ext cx="3676649" cy="21818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D0E8588-8F49-56C7-3B6D-33B8BF9CA5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342901"/>
            <a:ext cx="3676649" cy="825547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88C8C1BC-472C-01B2-674D-600CD42269BC}"/>
              </a:ext>
            </a:extLst>
          </p:cNvPr>
          <p:cNvSpPr/>
          <p:nvPr userDrawn="1"/>
        </p:nvSpPr>
        <p:spPr>
          <a:xfrm rot="13500000">
            <a:off x="7563889" y="-817843"/>
            <a:ext cx="5926969" cy="4088630"/>
          </a:xfrm>
          <a:custGeom>
            <a:avLst/>
            <a:gdLst>
              <a:gd name="connsiteX0" fmla="*/ 713929 w 5926969"/>
              <a:gd name="connsiteY0" fmla="*/ 2148897 h 4088630"/>
              <a:gd name="connsiteX1" fmla="*/ 0 w 5926969"/>
              <a:gd name="connsiteY1" fmla="*/ 1434968 h 4088630"/>
              <a:gd name="connsiteX2" fmla="*/ 0 w 5926969"/>
              <a:gd name="connsiteY2" fmla="*/ 370436 h 4088630"/>
              <a:gd name="connsiteX3" fmla="*/ 356965 w 5926969"/>
              <a:gd name="connsiteY3" fmla="*/ 13471 h 4088630"/>
              <a:gd name="connsiteX4" fmla="*/ 713930 w 5926969"/>
              <a:gd name="connsiteY4" fmla="*/ 370436 h 4088630"/>
              <a:gd name="connsiteX5" fmla="*/ 3361289 w 5926969"/>
              <a:gd name="connsiteY5" fmla="*/ 3381003 h 4088630"/>
              <a:gd name="connsiteX6" fmla="*/ 2653662 w 5926969"/>
              <a:gd name="connsiteY6" fmla="*/ 4088630 h 4088630"/>
              <a:gd name="connsiteX7" fmla="*/ 2647359 w 5926969"/>
              <a:gd name="connsiteY7" fmla="*/ 4082327 h 4088630"/>
              <a:gd name="connsiteX8" fmla="*/ 2647360 w 5926969"/>
              <a:gd name="connsiteY8" fmla="*/ 438588 h 4088630"/>
              <a:gd name="connsiteX9" fmla="*/ 3004325 w 5926969"/>
              <a:gd name="connsiteY9" fmla="*/ 81623 h 4088630"/>
              <a:gd name="connsiteX10" fmla="*/ 3361290 w 5926969"/>
              <a:gd name="connsiteY10" fmla="*/ 438588 h 4088630"/>
              <a:gd name="connsiteX11" fmla="*/ 5926969 w 5926969"/>
              <a:gd name="connsiteY11" fmla="*/ 815324 h 4088630"/>
              <a:gd name="connsiteX12" fmla="*/ 5213039 w 5926969"/>
              <a:gd name="connsiteY12" fmla="*/ 1529253 h 4088630"/>
              <a:gd name="connsiteX13" fmla="*/ 5213039 w 5926969"/>
              <a:gd name="connsiteY13" fmla="*/ 356965 h 4088630"/>
              <a:gd name="connsiteX14" fmla="*/ 5570004 w 5926969"/>
              <a:gd name="connsiteY14" fmla="*/ 0 h 4088630"/>
              <a:gd name="connsiteX15" fmla="*/ 5926969 w 5926969"/>
              <a:gd name="connsiteY15" fmla="*/ 356965 h 4088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926969" h="4088630">
                <a:moveTo>
                  <a:pt x="713929" y="2148897"/>
                </a:moveTo>
                <a:lnTo>
                  <a:pt x="0" y="1434968"/>
                </a:lnTo>
                <a:lnTo>
                  <a:pt x="0" y="370436"/>
                </a:lnTo>
                <a:cubicBezTo>
                  <a:pt x="0" y="173290"/>
                  <a:pt x="159819" y="13471"/>
                  <a:pt x="356965" y="13471"/>
                </a:cubicBezTo>
                <a:cubicBezTo>
                  <a:pt x="554111" y="13471"/>
                  <a:pt x="713930" y="173290"/>
                  <a:pt x="713930" y="370436"/>
                </a:cubicBezTo>
                <a:close/>
                <a:moveTo>
                  <a:pt x="3361289" y="3381003"/>
                </a:moveTo>
                <a:lnTo>
                  <a:pt x="2653662" y="4088630"/>
                </a:lnTo>
                <a:lnTo>
                  <a:pt x="2647359" y="4082327"/>
                </a:lnTo>
                <a:lnTo>
                  <a:pt x="2647360" y="438588"/>
                </a:lnTo>
                <a:cubicBezTo>
                  <a:pt x="2647359" y="241442"/>
                  <a:pt x="2807178" y="81624"/>
                  <a:pt x="3004325" y="81623"/>
                </a:cubicBezTo>
                <a:cubicBezTo>
                  <a:pt x="3201470" y="81623"/>
                  <a:pt x="3361289" y="241442"/>
                  <a:pt x="3361290" y="438588"/>
                </a:cubicBezTo>
                <a:close/>
                <a:moveTo>
                  <a:pt x="5926969" y="815324"/>
                </a:moveTo>
                <a:lnTo>
                  <a:pt x="5213039" y="1529253"/>
                </a:lnTo>
                <a:lnTo>
                  <a:pt x="5213039" y="356965"/>
                </a:lnTo>
                <a:cubicBezTo>
                  <a:pt x="5213039" y="159819"/>
                  <a:pt x="5372858" y="0"/>
                  <a:pt x="5570004" y="0"/>
                </a:cubicBezTo>
                <a:cubicBezTo>
                  <a:pt x="5767150" y="0"/>
                  <a:pt x="5926969" y="159819"/>
                  <a:pt x="5926969" y="356965"/>
                </a:cubicBezTo>
                <a:close/>
              </a:path>
            </a:pathLst>
          </a:custGeom>
          <a:solidFill>
            <a:srgbClr val="0946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3C8C1B-985C-5BF4-D802-B0D1C7B0BC1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953001" y="1219200"/>
            <a:ext cx="6636542" cy="4572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140511-7124-F995-D70E-0BCD34241C8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DF87AA3F-8F90-AF82-7BA7-794B6D2097C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94" t="43871" r="21794" b="43871"/>
          <a:stretch/>
        </p:blipFill>
        <p:spPr>
          <a:xfrm>
            <a:off x="10185399" y="411163"/>
            <a:ext cx="1851933" cy="284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643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DFCC6857-60DC-F8C1-2D49-747586AAC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29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CC6857-60DC-F8C1-2D49-747586AAC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791BF2F1-F687-0BCF-88DA-FD75AE7FA909}"/>
              </a:ext>
            </a:extLst>
          </p:cNvPr>
          <p:cNvSpPr/>
          <p:nvPr userDrawn="1"/>
        </p:nvSpPr>
        <p:spPr>
          <a:xfrm rot="2700000">
            <a:off x="269617" y="19111"/>
            <a:ext cx="12006730" cy="8535733"/>
          </a:xfrm>
          <a:custGeom>
            <a:avLst/>
            <a:gdLst>
              <a:gd name="connsiteX0" fmla="*/ 10717530 w 12006730"/>
              <a:gd name="connsiteY0" fmla="*/ 611276 h 8535733"/>
              <a:gd name="connsiteX1" fmla="*/ 12006730 w 12006730"/>
              <a:gd name="connsiteY1" fmla="*/ 1900477 h 8535733"/>
              <a:gd name="connsiteX2" fmla="*/ 10717529 w 12006730"/>
              <a:gd name="connsiteY2" fmla="*/ 3189678 h 8535733"/>
              <a:gd name="connsiteX3" fmla="*/ 5561181 w 12006730"/>
              <a:gd name="connsiteY3" fmla="*/ 189707 h 8535733"/>
              <a:gd name="connsiteX4" fmla="*/ 6019175 w 12006730"/>
              <a:gd name="connsiteY4" fmla="*/ 0 h 8535733"/>
              <a:gd name="connsiteX5" fmla="*/ 6666875 w 12006730"/>
              <a:gd name="connsiteY5" fmla="*/ 647700 h 8535733"/>
              <a:gd name="connsiteX6" fmla="*/ 6666874 w 12006730"/>
              <a:gd name="connsiteY6" fmla="*/ 7240333 h 8535733"/>
              <a:gd name="connsiteX7" fmla="*/ 5371474 w 12006730"/>
              <a:gd name="connsiteY7" fmla="*/ 8535733 h 8535733"/>
              <a:gd name="connsiteX8" fmla="*/ 5371474 w 12006730"/>
              <a:gd name="connsiteY8" fmla="*/ 647700 h 8535733"/>
              <a:gd name="connsiteX9" fmla="*/ 5561181 w 12006730"/>
              <a:gd name="connsiteY9" fmla="*/ 189707 h 8535733"/>
              <a:gd name="connsiteX10" fmla="*/ 0 w 12006730"/>
              <a:gd name="connsiteY10" fmla="*/ 4208531 h 8535733"/>
              <a:gd name="connsiteX11" fmla="*/ 1295400 w 12006730"/>
              <a:gd name="connsiteY11" fmla="*/ 2913130 h 8535733"/>
              <a:gd name="connsiteX12" fmla="*/ 1295400 w 12006730"/>
              <a:gd name="connsiteY12" fmla="*/ 8431239 h 8535733"/>
              <a:gd name="connsiteX13" fmla="*/ 0 w 12006730"/>
              <a:gd name="connsiteY13" fmla="*/ 7135839 h 8535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006730" h="8535733">
                <a:moveTo>
                  <a:pt x="10717530" y="611276"/>
                </a:moveTo>
                <a:lnTo>
                  <a:pt x="12006730" y="1900477"/>
                </a:lnTo>
                <a:lnTo>
                  <a:pt x="10717529" y="3189678"/>
                </a:lnTo>
                <a:close/>
                <a:moveTo>
                  <a:pt x="5561181" y="189707"/>
                </a:moveTo>
                <a:cubicBezTo>
                  <a:pt x="5678391" y="72497"/>
                  <a:pt x="5840316" y="0"/>
                  <a:pt x="6019175" y="0"/>
                </a:cubicBezTo>
                <a:cubicBezTo>
                  <a:pt x="6376889" y="1"/>
                  <a:pt x="6666874" y="289985"/>
                  <a:pt x="6666875" y="647700"/>
                </a:cubicBezTo>
                <a:lnTo>
                  <a:pt x="6666874" y="7240333"/>
                </a:lnTo>
                <a:lnTo>
                  <a:pt x="5371474" y="8535733"/>
                </a:lnTo>
                <a:lnTo>
                  <a:pt x="5371474" y="647700"/>
                </a:lnTo>
                <a:cubicBezTo>
                  <a:pt x="5371474" y="468843"/>
                  <a:pt x="5443971" y="306918"/>
                  <a:pt x="5561181" y="189707"/>
                </a:cubicBezTo>
                <a:close/>
                <a:moveTo>
                  <a:pt x="0" y="4208531"/>
                </a:moveTo>
                <a:lnTo>
                  <a:pt x="1295400" y="2913130"/>
                </a:lnTo>
                <a:lnTo>
                  <a:pt x="1295400" y="8431239"/>
                </a:lnTo>
                <a:lnTo>
                  <a:pt x="0" y="7135839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5D12F68F-9B2F-DC33-8205-E0E3A1C693BE}"/>
              </a:ext>
            </a:extLst>
          </p:cNvPr>
          <p:cNvSpPr/>
          <p:nvPr userDrawn="1"/>
        </p:nvSpPr>
        <p:spPr>
          <a:xfrm>
            <a:off x="4476750" y="3829050"/>
            <a:ext cx="3219450" cy="2057400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950EEB-F508-85D0-C200-F26F619114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C645CC-4AEA-DCE5-0C70-91916608AF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3B456247-C46D-79A5-1523-E12797A1D1B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42900" y="1371600"/>
            <a:ext cx="3524248" cy="4591050"/>
          </a:xfrm>
          <a:custGeom>
            <a:avLst/>
            <a:gdLst>
              <a:gd name="connsiteX0" fmla="*/ 417624 w 3524248"/>
              <a:gd name="connsiteY0" fmla="*/ 2586990 h 4591050"/>
              <a:gd name="connsiteX1" fmla="*/ 238124 w 3524248"/>
              <a:gd name="connsiteY1" fmla="*/ 2766490 h 4591050"/>
              <a:gd name="connsiteX2" fmla="*/ 238124 w 3524248"/>
              <a:gd name="connsiteY2" fmla="*/ 4198190 h 4591050"/>
              <a:gd name="connsiteX3" fmla="*/ 417624 w 3524248"/>
              <a:gd name="connsiteY3" fmla="*/ 4377690 h 4591050"/>
              <a:gd name="connsiteX4" fmla="*/ 3106624 w 3524248"/>
              <a:gd name="connsiteY4" fmla="*/ 4377690 h 4591050"/>
              <a:gd name="connsiteX5" fmla="*/ 3286124 w 3524248"/>
              <a:gd name="connsiteY5" fmla="*/ 4198190 h 4591050"/>
              <a:gd name="connsiteX6" fmla="*/ 3286124 w 3524248"/>
              <a:gd name="connsiteY6" fmla="*/ 2766490 h 4591050"/>
              <a:gd name="connsiteX7" fmla="*/ 3106624 w 3524248"/>
              <a:gd name="connsiteY7" fmla="*/ 2586990 h 4591050"/>
              <a:gd name="connsiteX8" fmla="*/ 278557 w 3524248"/>
              <a:gd name="connsiteY8" fmla="*/ 0 h 4591050"/>
              <a:gd name="connsiteX9" fmla="*/ 3245691 w 3524248"/>
              <a:gd name="connsiteY9" fmla="*/ 0 h 4591050"/>
              <a:gd name="connsiteX10" fmla="*/ 3524248 w 3524248"/>
              <a:gd name="connsiteY10" fmla="*/ 278557 h 4591050"/>
              <a:gd name="connsiteX11" fmla="*/ 3524248 w 3524248"/>
              <a:gd name="connsiteY11" fmla="*/ 4312493 h 4591050"/>
              <a:gd name="connsiteX12" fmla="*/ 3245691 w 3524248"/>
              <a:gd name="connsiteY12" fmla="*/ 4591050 h 4591050"/>
              <a:gd name="connsiteX13" fmla="*/ 278557 w 3524248"/>
              <a:gd name="connsiteY13" fmla="*/ 4591050 h 4591050"/>
              <a:gd name="connsiteX14" fmla="*/ 0 w 3524248"/>
              <a:gd name="connsiteY14" fmla="*/ 4312493 h 4591050"/>
              <a:gd name="connsiteX15" fmla="*/ 0 w 3524248"/>
              <a:gd name="connsiteY15" fmla="*/ 278557 h 4591050"/>
              <a:gd name="connsiteX16" fmla="*/ 278557 w 3524248"/>
              <a:gd name="connsiteY16" fmla="*/ 0 h 459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524248" h="4591050">
                <a:moveTo>
                  <a:pt x="417624" y="2586990"/>
                </a:moveTo>
                <a:cubicBezTo>
                  <a:pt x="318489" y="2586990"/>
                  <a:pt x="238124" y="2667355"/>
                  <a:pt x="238124" y="2766490"/>
                </a:cubicBezTo>
                <a:lnTo>
                  <a:pt x="238124" y="4198190"/>
                </a:lnTo>
                <a:cubicBezTo>
                  <a:pt x="238124" y="4297325"/>
                  <a:pt x="318489" y="4377690"/>
                  <a:pt x="417624" y="4377690"/>
                </a:cubicBezTo>
                <a:lnTo>
                  <a:pt x="3106624" y="4377690"/>
                </a:lnTo>
                <a:cubicBezTo>
                  <a:pt x="3205759" y="4377690"/>
                  <a:pt x="3286124" y="4297325"/>
                  <a:pt x="3286124" y="4198190"/>
                </a:cubicBezTo>
                <a:lnTo>
                  <a:pt x="3286124" y="2766490"/>
                </a:lnTo>
                <a:cubicBezTo>
                  <a:pt x="3286124" y="2667355"/>
                  <a:pt x="3205759" y="2586990"/>
                  <a:pt x="3106624" y="2586990"/>
                </a:cubicBezTo>
                <a:close/>
                <a:moveTo>
                  <a:pt x="278557" y="0"/>
                </a:moveTo>
                <a:lnTo>
                  <a:pt x="3245691" y="0"/>
                </a:lnTo>
                <a:cubicBezTo>
                  <a:pt x="3399534" y="0"/>
                  <a:pt x="3524248" y="124714"/>
                  <a:pt x="3524248" y="278557"/>
                </a:cubicBezTo>
                <a:lnTo>
                  <a:pt x="3524248" y="4312493"/>
                </a:lnTo>
                <a:cubicBezTo>
                  <a:pt x="3524248" y="4466336"/>
                  <a:pt x="3399534" y="4591050"/>
                  <a:pt x="3245691" y="4591050"/>
                </a:cubicBezTo>
                <a:lnTo>
                  <a:pt x="278557" y="4591050"/>
                </a:lnTo>
                <a:cubicBezTo>
                  <a:pt x="124714" y="4591050"/>
                  <a:pt x="0" y="4466336"/>
                  <a:pt x="0" y="4312493"/>
                </a:cubicBezTo>
                <a:lnTo>
                  <a:pt x="0" y="278557"/>
                </a:lnTo>
                <a:cubicBezTo>
                  <a:pt x="0" y="124714"/>
                  <a:pt x="124714" y="0"/>
                  <a:pt x="278557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84E71EF1-BBC2-C941-BDC5-BF460B34D4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33876" y="1371600"/>
            <a:ext cx="3524248" cy="4591050"/>
          </a:xfrm>
          <a:custGeom>
            <a:avLst/>
            <a:gdLst>
              <a:gd name="connsiteX0" fmla="*/ 417624 w 3524248"/>
              <a:gd name="connsiteY0" fmla="*/ 2586990 h 4591050"/>
              <a:gd name="connsiteX1" fmla="*/ 238124 w 3524248"/>
              <a:gd name="connsiteY1" fmla="*/ 2766490 h 4591050"/>
              <a:gd name="connsiteX2" fmla="*/ 238124 w 3524248"/>
              <a:gd name="connsiteY2" fmla="*/ 4198190 h 4591050"/>
              <a:gd name="connsiteX3" fmla="*/ 417624 w 3524248"/>
              <a:gd name="connsiteY3" fmla="*/ 4377690 h 4591050"/>
              <a:gd name="connsiteX4" fmla="*/ 3106624 w 3524248"/>
              <a:gd name="connsiteY4" fmla="*/ 4377690 h 4591050"/>
              <a:gd name="connsiteX5" fmla="*/ 3286124 w 3524248"/>
              <a:gd name="connsiteY5" fmla="*/ 4198190 h 4591050"/>
              <a:gd name="connsiteX6" fmla="*/ 3286124 w 3524248"/>
              <a:gd name="connsiteY6" fmla="*/ 2766490 h 4591050"/>
              <a:gd name="connsiteX7" fmla="*/ 3106624 w 3524248"/>
              <a:gd name="connsiteY7" fmla="*/ 2586990 h 4591050"/>
              <a:gd name="connsiteX8" fmla="*/ 278557 w 3524248"/>
              <a:gd name="connsiteY8" fmla="*/ 0 h 4591050"/>
              <a:gd name="connsiteX9" fmla="*/ 3245691 w 3524248"/>
              <a:gd name="connsiteY9" fmla="*/ 0 h 4591050"/>
              <a:gd name="connsiteX10" fmla="*/ 3524248 w 3524248"/>
              <a:gd name="connsiteY10" fmla="*/ 278557 h 4591050"/>
              <a:gd name="connsiteX11" fmla="*/ 3524248 w 3524248"/>
              <a:gd name="connsiteY11" fmla="*/ 4312493 h 4591050"/>
              <a:gd name="connsiteX12" fmla="*/ 3245691 w 3524248"/>
              <a:gd name="connsiteY12" fmla="*/ 4591050 h 4591050"/>
              <a:gd name="connsiteX13" fmla="*/ 278557 w 3524248"/>
              <a:gd name="connsiteY13" fmla="*/ 4591050 h 4591050"/>
              <a:gd name="connsiteX14" fmla="*/ 0 w 3524248"/>
              <a:gd name="connsiteY14" fmla="*/ 4312493 h 4591050"/>
              <a:gd name="connsiteX15" fmla="*/ 0 w 3524248"/>
              <a:gd name="connsiteY15" fmla="*/ 278557 h 4591050"/>
              <a:gd name="connsiteX16" fmla="*/ 278557 w 3524248"/>
              <a:gd name="connsiteY16" fmla="*/ 0 h 459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524248" h="4591050">
                <a:moveTo>
                  <a:pt x="417624" y="2586990"/>
                </a:moveTo>
                <a:cubicBezTo>
                  <a:pt x="318489" y="2586990"/>
                  <a:pt x="238124" y="2667355"/>
                  <a:pt x="238124" y="2766490"/>
                </a:cubicBezTo>
                <a:lnTo>
                  <a:pt x="238124" y="4198190"/>
                </a:lnTo>
                <a:cubicBezTo>
                  <a:pt x="238124" y="4297325"/>
                  <a:pt x="318489" y="4377690"/>
                  <a:pt x="417624" y="4377690"/>
                </a:cubicBezTo>
                <a:lnTo>
                  <a:pt x="3106624" y="4377690"/>
                </a:lnTo>
                <a:cubicBezTo>
                  <a:pt x="3205759" y="4377690"/>
                  <a:pt x="3286124" y="4297325"/>
                  <a:pt x="3286124" y="4198190"/>
                </a:cubicBezTo>
                <a:lnTo>
                  <a:pt x="3286124" y="2766490"/>
                </a:lnTo>
                <a:cubicBezTo>
                  <a:pt x="3286124" y="2667355"/>
                  <a:pt x="3205759" y="2586990"/>
                  <a:pt x="3106624" y="2586990"/>
                </a:cubicBezTo>
                <a:close/>
                <a:moveTo>
                  <a:pt x="278557" y="0"/>
                </a:moveTo>
                <a:lnTo>
                  <a:pt x="3245691" y="0"/>
                </a:lnTo>
                <a:cubicBezTo>
                  <a:pt x="3399534" y="0"/>
                  <a:pt x="3524248" y="124714"/>
                  <a:pt x="3524248" y="278557"/>
                </a:cubicBezTo>
                <a:lnTo>
                  <a:pt x="3524248" y="4312493"/>
                </a:lnTo>
                <a:cubicBezTo>
                  <a:pt x="3524248" y="4466336"/>
                  <a:pt x="3399534" y="4591050"/>
                  <a:pt x="3245691" y="4591050"/>
                </a:cubicBezTo>
                <a:lnTo>
                  <a:pt x="278557" y="4591050"/>
                </a:lnTo>
                <a:cubicBezTo>
                  <a:pt x="124714" y="4591050"/>
                  <a:pt x="0" y="4466336"/>
                  <a:pt x="0" y="4312493"/>
                </a:cubicBezTo>
                <a:lnTo>
                  <a:pt x="0" y="278557"/>
                </a:lnTo>
                <a:cubicBezTo>
                  <a:pt x="0" y="124714"/>
                  <a:pt x="124714" y="0"/>
                  <a:pt x="278557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C7AD8CFC-0BE5-0779-BE2A-989447232A6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24852" y="1371600"/>
            <a:ext cx="3524248" cy="4591050"/>
          </a:xfrm>
          <a:custGeom>
            <a:avLst/>
            <a:gdLst>
              <a:gd name="connsiteX0" fmla="*/ 417624 w 3524248"/>
              <a:gd name="connsiteY0" fmla="*/ 2586990 h 4591050"/>
              <a:gd name="connsiteX1" fmla="*/ 238124 w 3524248"/>
              <a:gd name="connsiteY1" fmla="*/ 2766490 h 4591050"/>
              <a:gd name="connsiteX2" fmla="*/ 238124 w 3524248"/>
              <a:gd name="connsiteY2" fmla="*/ 4198190 h 4591050"/>
              <a:gd name="connsiteX3" fmla="*/ 417624 w 3524248"/>
              <a:gd name="connsiteY3" fmla="*/ 4377690 h 4591050"/>
              <a:gd name="connsiteX4" fmla="*/ 3106624 w 3524248"/>
              <a:gd name="connsiteY4" fmla="*/ 4377690 h 4591050"/>
              <a:gd name="connsiteX5" fmla="*/ 3286124 w 3524248"/>
              <a:gd name="connsiteY5" fmla="*/ 4198190 h 4591050"/>
              <a:gd name="connsiteX6" fmla="*/ 3286124 w 3524248"/>
              <a:gd name="connsiteY6" fmla="*/ 2766490 h 4591050"/>
              <a:gd name="connsiteX7" fmla="*/ 3106624 w 3524248"/>
              <a:gd name="connsiteY7" fmla="*/ 2586990 h 4591050"/>
              <a:gd name="connsiteX8" fmla="*/ 278557 w 3524248"/>
              <a:gd name="connsiteY8" fmla="*/ 0 h 4591050"/>
              <a:gd name="connsiteX9" fmla="*/ 3245691 w 3524248"/>
              <a:gd name="connsiteY9" fmla="*/ 0 h 4591050"/>
              <a:gd name="connsiteX10" fmla="*/ 3524248 w 3524248"/>
              <a:gd name="connsiteY10" fmla="*/ 278557 h 4591050"/>
              <a:gd name="connsiteX11" fmla="*/ 3524248 w 3524248"/>
              <a:gd name="connsiteY11" fmla="*/ 4312493 h 4591050"/>
              <a:gd name="connsiteX12" fmla="*/ 3245691 w 3524248"/>
              <a:gd name="connsiteY12" fmla="*/ 4591050 h 4591050"/>
              <a:gd name="connsiteX13" fmla="*/ 278557 w 3524248"/>
              <a:gd name="connsiteY13" fmla="*/ 4591050 h 4591050"/>
              <a:gd name="connsiteX14" fmla="*/ 0 w 3524248"/>
              <a:gd name="connsiteY14" fmla="*/ 4312493 h 4591050"/>
              <a:gd name="connsiteX15" fmla="*/ 0 w 3524248"/>
              <a:gd name="connsiteY15" fmla="*/ 278557 h 4591050"/>
              <a:gd name="connsiteX16" fmla="*/ 278557 w 3524248"/>
              <a:gd name="connsiteY16" fmla="*/ 0 h 459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524248" h="4591050">
                <a:moveTo>
                  <a:pt x="417624" y="2586990"/>
                </a:moveTo>
                <a:cubicBezTo>
                  <a:pt x="318489" y="2586990"/>
                  <a:pt x="238124" y="2667355"/>
                  <a:pt x="238124" y="2766490"/>
                </a:cubicBezTo>
                <a:lnTo>
                  <a:pt x="238124" y="4198190"/>
                </a:lnTo>
                <a:cubicBezTo>
                  <a:pt x="238124" y="4297325"/>
                  <a:pt x="318489" y="4377690"/>
                  <a:pt x="417624" y="4377690"/>
                </a:cubicBezTo>
                <a:lnTo>
                  <a:pt x="3106624" y="4377690"/>
                </a:lnTo>
                <a:cubicBezTo>
                  <a:pt x="3205759" y="4377690"/>
                  <a:pt x="3286124" y="4297325"/>
                  <a:pt x="3286124" y="4198190"/>
                </a:cubicBezTo>
                <a:lnTo>
                  <a:pt x="3286124" y="2766490"/>
                </a:lnTo>
                <a:cubicBezTo>
                  <a:pt x="3286124" y="2667355"/>
                  <a:pt x="3205759" y="2586990"/>
                  <a:pt x="3106624" y="2586990"/>
                </a:cubicBezTo>
                <a:close/>
                <a:moveTo>
                  <a:pt x="278557" y="0"/>
                </a:moveTo>
                <a:lnTo>
                  <a:pt x="3245691" y="0"/>
                </a:lnTo>
                <a:cubicBezTo>
                  <a:pt x="3399534" y="0"/>
                  <a:pt x="3524248" y="124714"/>
                  <a:pt x="3524248" y="278557"/>
                </a:cubicBezTo>
                <a:lnTo>
                  <a:pt x="3524248" y="4312493"/>
                </a:lnTo>
                <a:cubicBezTo>
                  <a:pt x="3524248" y="4466336"/>
                  <a:pt x="3399534" y="4591050"/>
                  <a:pt x="3245691" y="4591050"/>
                </a:cubicBezTo>
                <a:lnTo>
                  <a:pt x="278557" y="4591050"/>
                </a:lnTo>
                <a:cubicBezTo>
                  <a:pt x="124714" y="4591050"/>
                  <a:pt x="0" y="4466336"/>
                  <a:pt x="0" y="4312493"/>
                </a:cubicBezTo>
                <a:lnTo>
                  <a:pt x="0" y="278557"/>
                </a:lnTo>
                <a:cubicBezTo>
                  <a:pt x="0" y="124714"/>
                  <a:pt x="124714" y="0"/>
                  <a:pt x="278557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C2A4399F-9EB0-4E1C-632F-1650E32E249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6288" y="4171950"/>
            <a:ext cx="2617472" cy="18415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96266901-E7A4-48AC-616A-D75B0FD1908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7264" y="4171950"/>
            <a:ext cx="2617472" cy="18415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2880" indent="0">
              <a:buNone/>
              <a:defRPr sz="12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F28A932C-87D4-4E2D-2EED-A303DD2E542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778240" y="4171950"/>
            <a:ext cx="2617472" cy="18415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2880" indent="0">
              <a:buNone/>
              <a:defRPr sz="12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AD6E6186-767C-7837-40E5-847B2BEF1B1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3BC1D722-ADD3-F1FD-C702-F541AB68C60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95338" y="4419600"/>
            <a:ext cx="2617472" cy="274320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A4B013FD-AFBD-1ABE-F8FD-7AD176D66E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5338" y="4826000"/>
            <a:ext cx="2617472" cy="749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BA73A3ED-52E7-6C83-A64E-851D048B65F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87264" y="4419600"/>
            <a:ext cx="2617472" cy="274320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D2CFE72D-3C1D-7FEB-AACB-4CB556BDE5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87264" y="4826000"/>
            <a:ext cx="2617472" cy="749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Text Placeholder 25">
            <a:extLst>
              <a:ext uri="{FF2B5EF4-FFF2-40B4-BE49-F238E27FC236}">
                <a16:creationId xmlns:a16="http://schemas.microsoft.com/office/drawing/2014/main" id="{AE6DF662-8D02-F3FD-CBBD-A102AA027E0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778240" y="4419600"/>
            <a:ext cx="2617472" cy="274320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19B411C1-8766-BA93-6104-77A377325B1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78240" y="4826000"/>
            <a:ext cx="2617472" cy="749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70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DFCC6857-60DC-F8C1-2D49-747586AAC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1403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CC6857-60DC-F8C1-2D49-747586AAC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791BF2F1-F687-0BCF-88DA-FD75AE7FA909}"/>
              </a:ext>
            </a:extLst>
          </p:cNvPr>
          <p:cNvSpPr/>
          <p:nvPr userDrawn="1"/>
        </p:nvSpPr>
        <p:spPr>
          <a:xfrm rot="2700000">
            <a:off x="269617" y="19111"/>
            <a:ext cx="12006730" cy="8535733"/>
          </a:xfrm>
          <a:custGeom>
            <a:avLst/>
            <a:gdLst>
              <a:gd name="connsiteX0" fmla="*/ 10717530 w 12006730"/>
              <a:gd name="connsiteY0" fmla="*/ 611276 h 8535733"/>
              <a:gd name="connsiteX1" fmla="*/ 12006730 w 12006730"/>
              <a:gd name="connsiteY1" fmla="*/ 1900477 h 8535733"/>
              <a:gd name="connsiteX2" fmla="*/ 10717529 w 12006730"/>
              <a:gd name="connsiteY2" fmla="*/ 3189678 h 8535733"/>
              <a:gd name="connsiteX3" fmla="*/ 5561181 w 12006730"/>
              <a:gd name="connsiteY3" fmla="*/ 189707 h 8535733"/>
              <a:gd name="connsiteX4" fmla="*/ 6019175 w 12006730"/>
              <a:gd name="connsiteY4" fmla="*/ 0 h 8535733"/>
              <a:gd name="connsiteX5" fmla="*/ 6666875 w 12006730"/>
              <a:gd name="connsiteY5" fmla="*/ 647700 h 8535733"/>
              <a:gd name="connsiteX6" fmla="*/ 6666874 w 12006730"/>
              <a:gd name="connsiteY6" fmla="*/ 7240333 h 8535733"/>
              <a:gd name="connsiteX7" fmla="*/ 5371474 w 12006730"/>
              <a:gd name="connsiteY7" fmla="*/ 8535733 h 8535733"/>
              <a:gd name="connsiteX8" fmla="*/ 5371474 w 12006730"/>
              <a:gd name="connsiteY8" fmla="*/ 647700 h 8535733"/>
              <a:gd name="connsiteX9" fmla="*/ 5561181 w 12006730"/>
              <a:gd name="connsiteY9" fmla="*/ 189707 h 8535733"/>
              <a:gd name="connsiteX10" fmla="*/ 0 w 12006730"/>
              <a:gd name="connsiteY10" fmla="*/ 4208531 h 8535733"/>
              <a:gd name="connsiteX11" fmla="*/ 1295400 w 12006730"/>
              <a:gd name="connsiteY11" fmla="*/ 2913130 h 8535733"/>
              <a:gd name="connsiteX12" fmla="*/ 1295400 w 12006730"/>
              <a:gd name="connsiteY12" fmla="*/ 8431239 h 8535733"/>
              <a:gd name="connsiteX13" fmla="*/ 0 w 12006730"/>
              <a:gd name="connsiteY13" fmla="*/ 7135839 h 8535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006730" h="8535733">
                <a:moveTo>
                  <a:pt x="10717530" y="611276"/>
                </a:moveTo>
                <a:lnTo>
                  <a:pt x="12006730" y="1900477"/>
                </a:lnTo>
                <a:lnTo>
                  <a:pt x="10717529" y="3189678"/>
                </a:lnTo>
                <a:close/>
                <a:moveTo>
                  <a:pt x="5561181" y="189707"/>
                </a:moveTo>
                <a:cubicBezTo>
                  <a:pt x="5678391" y="72497"/>
                  <a:pt x="5840316" y="0"/>
                  <a:pt x="6019175" y="0"/>
                </a:cubicBezTo>
                <a:cubicBezTo>
                  <a:pt x="6376889" y="1"/>
                  <a:pt x="6666874" y="289985"/>
                  <a:pt x="6666875" y="647700"/>
                </a:cubicBezTo>
                <a:lnTo>
                  <a:pt x="6666874" y="7240333"/>
                </a:lnTo>
                <a:lnTo>
                  <a:pt x="5371474" y="8535733"/>
                </a:lnTo>
                <a:lnTo>
                  <a:pt x="5371474" y="647700"/>
                </a:lnTo>
                <a:cubicBezTo>
                  <a:pt x="5371474" y="468843"/>
                  <a:pt x="5443971" y="306918"/>
                  <a:pt x="5561181" y="189707"/>
                </a:cubicBezTo>
                <a:close/>
                <a:moveTo>
                  <a:pt x="0" y="4208531"/>
                </a:moveTo>
                <a:lnTo>
                  <a:pt x="1295400" y="2913130"/>
                </a:lnTo>
                <a:lnTo>
                  <a:pt x="1295400" y="8431239"/>
                </a:lnTo>
                <a:lnTo>
                  <a:pt x="0" y="7135839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950EEB-F508-85D0-C200-F26F619114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342901"/>
            <a:ext cx="9671956" cy="422275"/>
          </a:xfrm>
        </p:spPr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C645CC-4AEA-DCE5-0C70-91916608AF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AD6E6186-767C-7837-40E5-847B2BEF1B1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8712A2EC-5ED5-C2D1-855D-085ACD30665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6288" y="2511018"/>
            <a:ext cx="2617472" cy="18415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Text Placeholder 25">
            <a:extLst>
              <a:ext uri="{FF2B5EF4-FFF2-40B4-BE49-F238E27FC236}">
                <a16:creationId xmlns:a16="http://schemas.microsoft.com/office/drawing/2014/main" id="{8272DFCA-25B2-8C22-017B-9F20D56A94C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6288" y="2732994"/>
            <a:ext cx="2617472" cy="196622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7">
            <a:extLst>
              <a:ext uri="{FF2B5EF4-FFF2-40B4-BE49-F238E27FC236}">
                <a16:creationId xmlns:a16="http://schemas.microsoft.com/office/drawing/2014/main" id="{017F7E8E-9577-784B-96AF-B3DE25ACA6F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96288" y="2998437"/>
            <a:ext cx="2617472" cy="27256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Picture Placeholder 73">
            <a:extLst>
              <a:ext uri="{FF2B5EF4-FFF2-40B4-BE49-F238E27FC236}">
                <a16:creationId xmlns:a16="http://schemas.microsoft.com/office/drawing/2014/main" id="{91C6B094-DA6D-D5ED-5721-4C22115057D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2900" y="1371600"/>
            <a:ext cx="3524248" cy="2270502"/>
          </a:xfrm>
          <a:custGeom>
            <a:avLst/>
            <a:gdLst>
              <a:gd name="connsiteX0" fmla="*/ 352430 w 3524248"/>
              <a:gd name="connsiteY0" fmla="*/ 1076325 h 2270502"/>
              <a:gd name="connsiteX1" fmla="*/ 247649 w 3524248"/>
              <a:gd name="connsiteY1" fmla="*/ 1181106 h 2270502"/>
              <a:gd name="connsiteX2" fmla="*/ 247649 w 3524248"/>
              <a:gd name="connsiteY2" fmla="*/ 1885944 h 2270502"/>
              <a:gd name="connsiteX3" fmla="*/ 352430 w 3524248"/>
              <a:gd name="connsiteY3" fmla="*/ 1990725 h 2270502"/>
              <a:gd name="connsiteX4" fmla="*/ 3171818 w 3524248"/>
              <a:gd name="connsiteY4" fmla="*/ 1990725 h 2270502"/>
              <a:gd name="connsiteX5" fmla="*/ 3276599 w 3524248"/>
              <a:gd name="connsiteY5" fmla="*/ 1885944 h 2270502"/>
              <a:gd name="connsiteX6" fmla="*/ 3276599 w 3524248"/>
              <a:gd name="connsiteY6" fmla="*/ 1181106 h 2270502"/>
              <a:gd name="connsiteX7" fmla="*/ 3171818 w 3524248"/>
              <a:gd name="connsiteY7" fmla="*/ 1076325 h 2270502"/>
              <a:gd name="connsiteX8" fmla="*/ 247803 w 3524248"/>
              <a:gd name="connsiteY8" fmla="*/ 0 h 2270502"/>
              <a:gd name="connsiteX9" fmla="*/ 3276445 w 3524248"/>
              <a:gd name="connsiteY9" fmla="*/ 0 h 2270502"/>
              <a:gd name="connsiteX10" fmla="*/ 3524248 w 3524248"/>
              <a:gd name="connsiteY10" fmla="*/ 247803 h 2270502"/>
              <a:gd name="connsiteX11" fmla="*/ 3524248 w 3524248"/>
              <a:gd name="connsiteY11" fmla="*/ 2022699 h 2270502"/>
              <a:gd name="connsiteX12" fmla="*/ 3276445 w 3524248"/>
              <a:gd name="connsiteY12" fmla="*/ 2270502 h 2270502"/>
              <a:gd name="connsiteX13" fmla="*/ 247803 w 3524248"/>
              <a:gd name="connsiteY13" fmla="*/ 2270502 h 2270502"/>
              <a:gd name="connsiteX14" fmla="*/ 0 w 3524248"/>
              <a:gd name="connsiteY14" fmla="*/ 2022699 h 2270502"/>
              <a:gd name="connsiteX15" fmla="*/ 0 w 3524248"/>
              <a:gd name="connsiteY15" fmla="*/ 247803 h 2270502"/>
              <a:gd name="connsiteX16" fmla="*/ 247803 w 3524248"/>
              <a:gd name="connsiteY16" fmla="*/ 0 h 227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524248" h="2270502">
                <a:moveTo>
                  <a:pt x="352430" y="1076325"/>
                </a:moveTo>
                <a:cubicBezTo>
                  <a:pt x="294561" y="1076325"/>
                  <a:pt x="247649" y="1123237"/>
                  <a:pt x="247649" y="1181106"/>
                </a:cubicBezTo>
                <a:lnTo>
                  <a:pt x="247649" y="1885944"/>
                </a:lnTo>
                <a:cubicBezTo>
                  <a:pt x="247649" y="1943813"/>
                  <a:pt x="294561" y="1990725"/>
                  <a:pt x="352430" y="1990725"/>
                </a:cubicBezTo>
                <a:lnTo>
                  <a:pt x="3171818" y="1990725"/>
                </a:lnTo>
                <a:cubicBezTo>
                  <a:pt x="3229687" y="1990725"/>
                  <a:pt x="3276599" y="1943813"/>
                  <a:pt x="3276599" y="1885944"/>
                </a:cubicBezTo>
                <a:lnTo>
                  <a:pt x="3276599" y="1181106"/>
                </a:lnTo>
                <a:cubicBezTo>
                  <a:pt x="3276599" y="1123237"/>
                  <a:pt x="3229687" y="1076325"/>
                  <a:pt x="3171818" y="1076325"/>
                </a:cubicBezTo>
                <a:close/>
                <a:moveTo>
                  <a:pt x="247803" y="0"/>
                </a:moveTo>
                <a:lnTo>
                  <a:pt x="3276445" y="0"/>
                </a:lnTo>
                <a:cubicBezTo>
                  <a:pt x="3413303" y="0"/>
                  <a:pt x="3524248" y="110945"/>
                  <a:pt x="3524248" y="247803"/>
                </a:cubicBezTo>
                <a:lnTo>
                  <a:pt x="3524248" y="2022699"/>
                </a:lnTo>
                <a:cubicBezTo>
                  <a:pt x="3524248" y="2159557"/>
                  <a:pt x="3413303" y="2270502"/>
                  <a:pt x="3276445" y="2270502"/>
                </a:cubicBezTo>
                <a:lnTo>
                  <a:pt x="247803" y="2270502"/>
                </a:lnTo>
                <a:cubicBezTo>
                  <a:pt x="110945" y="2270502"/>
                  <a:pt x="0" y="2159557"/>
                  <a:pt x="0" y="2022699"/>
                </a:cubicBezTo>
                <a:lnTo>
                  <a:pt x="0" y="247803"/>
                </a:lnTo>
                <a:cubicBezTo>
                  <a:pt x="0" y="110945"/>
                  <a:pt x="110945" y="0"/>
                  <a:pt x="247803" y="0"/>
                </a:cubicBezTo>
                <a:close/>
              </a:path>
            </a:pathLst>
          </a:custGeom>
          <a:solidFill>
            <a:srgbClr val="08283B"/>
          </a:solidFill>
        </p:spPr>
        <p:txBody>
          <a:bodyPr vert="horz" wrap="square" lIns="0" tIns="0" rIns="0" bIns="0" rtlCol="0">
            <a:noAutofit/>
          </a:bodyPr>
          <a:lstStyle>
            <a:lvl1pPr marL="0" indent="0" algn="ctr">
              <a:buNone/>
              <a:defRPr lang="en-GB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79" name="Picture Placeholder 78">
            <a:extLst>
              <a:ext uri="{FF2B5EF4-FFF2-40B4-BE49-F238E27FC236}">
                <a16:creationId xmlns:a16="http://schemas.microsoft.com/office/drawing/2014/main" id="{41B8229D-0F04-BEE7-E425-85C86FBC932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33876" y="1371600"/>
            <a:ext cx="3524248" cy="2270502"/>
          </a:xfrm>
          <a:custGeom>
            <a:avLst/>
            <a:gdLst>
              <a:gd name="connsiteX0" fmla="*/ 352430 w 3524248"/>
              <a:gd name="connsiteY0" fmla="*/ 1076325 h 2270502"/>
              <a:gd name="connsiteX1" fmla="*/ 247649 w 3524248"/>
              <a:gd name="connsiteY1" fmla="*/ 1181106 h 2270502"/>
              <a:gd name="connsiteX2" fmla="*/ 247649 w 3524248"/>
              <a:gd name="connsiteY2" fmla="*/ 1885944 h 2270502"/>
              <a:gd name="connsiteX3" fmla="*/ 352430 w 3524248"/>
              <a:gd name="connsiteY3" fmla="*/ 1990725 h 2270502"/>
              <a:gd name="connsiteX4" fmla="*/ 3171818 w 3524248"/>
              <a:gd name="connsiteY4" fmla="*/ 1990725 h 2270502"/>
              <a:gd name="connsiteX5" fmla="*/ 3276599 w 3524248"/>
              <a:gd name="connsiteY5" fmla="*/ 1885944 h 2270502"/>
              <a:gd name="connsiteX6" fmla="*/ 3276599 w 3524248"/>
              <a:gd name="connsiteY6" fmla="*/ 1181106 h 2270502"/>
              <a:gd name="connsiteX7" fmla="*/ 3171818 w 3524248"/>
              <a:gd name="connsiteY7" fmla="*/ 1076325 h 2270502"/>
              <a:gd name="connsiteX8" fmla="*/ 247803 w 3524248"/>
              <a:gd name="connsiteY8" fmla="*/ 0 h 2270502"/>
              <a:gd name="connsiteX9" fmla="*/ 3276445 w 3524248"/>
              <a:gd name="connsiteY9" fmla="*/ 0 h 2270502"/>
              <a:gd name="connsiteX10" fmla="*/ 3524248 w 3524248"/>
              <a:gd name="connsiteY10" fmla="*/ 247803 h 2270502"/>
              <a:gd name="connsiteX11" fmla="*/ 3524248 w 3524248"/>
              <a:gd name="connsiteY11" fmla="*/ 2022699 h 2270502"/>
              <a:gd name="connsiteX12" fmla="*/ 3276445 w 3524248"/>
              <a:gd name="connsiteY12" fmla="*/ 2270502 h 2270502"/>
              <a:gd name="connsiteX13" fmla="*/ 247803 w 3524248"/>
              <a:gd name="connsiteY13" fmla="*/ 2270502 h 2270502"/>
              <a:gd name="connsiteX14" fmla="*/ 0 w 3524248"/>
              <a:gd name="connsiteY14" fmla="*/ 2022699 h 2270502"/>
              <a:gd name="connsiteX15" fmla="*/ 0 w 3524248"/>
              <a:gd name="connsiteY15" fmla="*/ 247803 h 2270502"/>
              <a:gd name="connsiteX16" fmla="*/ 247803 w 3524248"/>
              <a:gd name="connsiteY16" fmla="*/ 0 h 227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524248" h="2270502">
                <a:moveTo>
                  <a:pt x="352430" y="1076325"/>
                </a:moveTo>
                <a:cubicBezTo>
                  <a:pt x="294561" y="1076325"/>
                  <a:pt x="247649" y="1123237"/>
                  <a:pt x="247649" y="1181106"/>
                </a:cubicBezTo>
                <a:lnTo>
                  <a:pt x="247649" y="1885944"/>
                </a:lnTo>
                <a:cubicBezTo>
                  <a:pt x="247649" y="1943813"/>
                  <a:pt x="294561" y="1990725"/>
                  <a:pt x="352430" y="1990725"/>
                </a:cubicBezTo>
                <a:lnTo>
                  <a:pt x="3171818" y="1990725"/>
                </a:lnTo>
                <a:cubicBezTo>
                  <a:pt x="3229687" y="1990725"/>
                  <a:pt x="3276599" y="1943813"/>
                  <a:pt x="3276599" y="1885944"/>
                </a:cubicBezTo>
                <a:lnTo>
                  <a:pt x="3276599" y="1181106"/>
                </a:lnTo>
                <a:cubicBezTo>
                  <a:pt x="3276599" y="1123237"/>
                  <a:pt x="3229687" y="1076325"/>
                  <a:pt x="3171818" y="1076325"/>
                </a:cubicBezTo>
                <a:close/>
                <a:moveTo>
                  <a:pt x="247803" y="0"/>
                </a:moveTo>
                <a:lnTo>
                  <a:pt x="3276445" y="0"/>
                </a:lnTo>
                <a:cubicBezTo>
                  <a:pt x="3413303" y="0"/>
                  <a:pt x="3524248" y="110945"/>
                  <a:pt x="3524248" y="247803"/>
                </a:cubicBezTo>
                <a:lnTo>
                  <a:pt x="3524248" y="2022699"/>
                </a:lnTo>
                <a:cubicBezTo>
                  <a:pt x="3524248" y="2159557"/>
                  <a:pt x="3413303" y="2270502"/>
                  <a:pt x="3276445" y="2270502"/>
                </a:cubicBezTo>
                <a:lnTo>
                  <a:pt x="247803" y="2270502"/>
                </a:lnTo>
                <a:cubicBezTo>
                  <a:pt x="110945" y="2270502"/>
                  <a:pt x="0" y="2159557"/>
                  <a:pt x="0" y="2022699"/>
                </a:cubicBezTo>
                <a:lnTo>
                  <a:pt x="0" y="247803"/>
                </a:lnTo>
                <a:cubicBezTo>
                  <a:pt x="0" y="110945"/>
                  <a:pt x="110945" y="0"/>
                  <a:pt x="247803" y="0"/>
                </a:cubicBezTo>
                <a:close/>
              </a:path>
            </a:pathLst>
          </a:custGeom>
          <a:solidFill>
            <a:srgbClr val="08283B"/>
          </a:solidFill>
        </p:spPr>
        <p:txBody>
          <a:bodyPr vert="horz" wrap="square" lIns="0" tIns="0" rIns="0" bIns="0" rtlCol="0">
            <a:noAutofit/>
          </a:bodyPr>
          <a:lstStyle>
            <a:lvl1pPr marL="0" indent="0" algn="ctr"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</a:t>
            </a:r>
          </a:p>
        </p:txBody>
      </p:sp>
      <p:sp>
        <p:nvSpPr>
          <p:cNvPr id="80" name="Picture Placeholder 79">
            <a:extLst>
              <a:ext uri="{FF2B5EF4-FFF2-40B4-BE49-F238E27FC236}">
                <a16:creationId xmlns:a16="http://schemas.microsoft.com/office/drawing/2014/main" id="{699BBFB5-25B8-DCEB-B88D-1EA9DCFD071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24852" y="1371600"/>
            <a:ext cx="3524248" cy="2270502"/>
          </a:xfrm>
          <a:custGeom>
            <a:avLst/>
            <a:gdLst>
              <a:gd name="connsiteX0" fmla="*/ 352430 w 3524248"/>
              <a:gd name="connsiteY0" fmla="*/ 1076325 h 2270502"/>
              <a:gd name="connsiteX1" fmla="*/ 247649 w 3524248"/>
              <a:gd name="connsiteY1" fmla="*/ 1181106 h 2270502"/>
              <a:gd name="connsiteX2" fmla="*/ 247649 w 3524248"/>
              <a:gd name="connsiteY2" fmla="*/ 1885944 h 2270502"/>
              <a:gd name="connsiteX3" fmla="*/ 352430 w 3524248"/>
              <a:gd name="connsiteY3" fmla="*/ 1990725 h 2270502"/>
              <a:gd name="connsiteX4" fmla="*/ 3171818 w 3524248"/>
              <a:gd name="connsiteY4" fmla="*/ 1990725 h 2270502"/>
              <a:gd name="connsiteX5" fmla="*/ 3276599 w 3524248"/>
              <a:gd name="connsiteY5" fmla="*/ 1885944 h 2270502"/>
              <a:gd name="connsiteX6" fmla="*/ 3276599 w 3524248"/>
              <a:gd name="connsiteY6" fmla="*/ 1181106 h 2270502"/>
              <a:gd name="connsiteX7" fmla="*/ 3171818 w 3524248"/>
              <a:gd name="connsiteY7" fmla="*/ 1076325 h 2270502"/>
              <a:gd name="connsiteX8" fmla="*/ 247803 w 3524248"/>
              <a:gd name="connsiteY8" fmla="*/ 0 h 2270502"/>
              <a:gd name="connsiteX9" fmla="*/ 3276445 w 3524248"/>
              <a:gd name="connsiteY9" fmla="*/ 0 h 2270502"/>
              <a:gd name="connsiteX10" fmla="*/ 3524248 w 3524248"/>
              <a:gd name="connsiteY10" fmla="*/ 247803 h 2270502"/>
              <a:gd name="connsiteX11" fmla="*/ 3524248 w 3524248"/>
              <a:gd name="connsiteY11" fmla="*/ 2022699 h 2270502"/>
              <a:gd name="connsiteX12" fmla="*/ 3276445 w 3524248"/>
              <a:gd name="connsiteY12" fmla="*/ 2270502 h 2270502"/>
              <a:gd name="connsiteX13" fmla="*/ 247803 w 3524248"/>
              <a:gd name="connsiteY13" fmla="*/ 2270502 h 2270502"/>
              <a:gd name="connsiteX14" fmla="*/ 0 w 3524248"/>
              <a:gd name="connsiteY14" fmla="*/ 2022699 h 2270502"/>
              <a:gd name="connsiteX15" fmla="*/ 0 w 3524248"/>
              <a:gd name="connsiteY15" fmla="*/ 247803 h 2270502"/>
              <a:gd name="connsiteX16" fmla="*/ 247803 w 3524248"/>
              <a:gd name="connsiteY16" fmla="*/ 0 h 227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524248" h="2270502">
                <a:moveTo>
                  <a:pt x="352430" y="1076325"/>
                </a:moveTo>
                <a:cubicBezTo>
                  <a:pt x="294561" y="1076325"/>
                  <a:pt x="247649" y="1123237"/>
                  <a:pt x="247649" y="1181106"/>
                </a:cubicBezTo>
                <a:lnTo>
                  <a:pt x="247649" y="1885944"/>
                </a:lnTo>
                <a:cubicBezTo>
                  <a:pt x="247649" y="1943813"/>
                  <a:pt x="294561" y="1990725"/>
                  <a:pt x="352430" y="1990725"/>
                </a:cubicBezTo>
                <a:lnTo>
                  <a:pt x="3171818" y="1990725"/>
                </a:lnTo>
                <a:cubicBezTo>
                  <a:pt x="3229687" y="1990725"/>
                  <a:pt x="3276599" y="1943813"/>
                  <a:pt x="3276599" y="1885944"/>
                </a:cubicBezTo>
                <a:lnTo>
                  <a:pt x="3276599" y="1181106"/>
                </a:lnTo>
                <a:cubicBezTo>
                  <a:pt x="3276599" y="1123237"/>
                  <a:pt x="3229687" y="1076325"/>
                  <a:pt x="3171818" y="1076325"/>
                </a:cubicBezTo>
                <a:close/>
                <a:moveTo>
                  <a:pt x="247803" y="0"/>
                </a:moveTo>
                <a:lnTo>
                  <a:pt x="3276445" y="0"/>
                </a:lnTo>
                <a:cubicBezTo>
                  <a:pt x="3413303" y="0"/>
                  <a:pt x="3524248" y="110945"/>
                  <a:pt x="3524248" y="247803"/>
                </a:cubicBezTo>
                <a:lnTo>
                  <a:pt x="3524248" y="2022699"/>
                </a:lnTo>
                <a:cubicBezTo>
                  <a:pt x="3524248" y="2159557"/>
                  <a:pt x="3413303" y="2270502"/>
                  <a:pt x="3276445" y="2270502"/>
                </a:cubicBezTo>
                <a:lnTo>
                  <a:pt x="247803" y="2270502"/>
                </a:lnTo>
                <a:cubicBezTo>
                  <a:pt x="110945" y="2270502"/>
                  <a:pt x="0" y="2159557"/>
                  <a:pt x="0" y="2022699"/>
                </a:cubicBezTo>
                <a:lnTo>
                  <a:pt x="0" y="247803"/>
                </a:lnTo>
                <a:cubicBezTo>
                  <a:pt x="0" y="110945"/>
                  <a:pt x="110945" y="0"/>
                  <a:pt x="247803" y="0"/>
                </a:cubicBezTo>
                <a:close/>
              </a:path>
            </a:pathLst>
          </a:custGeom>
          <a:solidFill>
            <a:srgbClr val="08283B"/>
          </a:solidFill>
        </p:spPr>
        <p:txBody>
          <a:bodyPr vert="horz" wrap="square" lIns="0" tIns="0" rIns="0" bIns="0" rtlCol="0">
            <a:noAutofit/>
          </a:bodyPr>
          <a:lstStyle>
            <a:lvl1pPr marL="0" indent="0" algn="ctr">
              <a:buNone/>
              <a:defRPr lang="en-GB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82" name="Text Placeholder 15">
            <a:extLst>
              <a:ext uri="{FF2B5EF4-FFF2-40B4-BE49-F238E27FC236}">
                <a16:creationId xmlns:a16="http://schemas.microsoft.com/office/drawing/2014/main" id="{A2C8CF92-7C0D-7E37-DBBF-96FA353463E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87264" y="2511018"/>
            <a:ext cx="2617472" cy="18415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3" name="Text Placeholder 25">
            <a:extLst>
              <a:ext uri="{FF2B5EF4-FFF2-40B4-BE49-F238E27FC236}">
                <a16:creationId xmlns:a16="http://schemas.microsoft.com/office/drawing/2014/main" id="{F598B0D1-A806-BD10-545E-067670F8B00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87264" y="2732994"/>
            <a:ext cx="2617472" cy="196622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27">
            <a:extLst>
              <a:ext uri="{FF2B5EF4-FFF2-40B4-BE49-F238E27FC236}">
                <a16:creationId xmlns:a16="http://schemas.microsoft.com/office/drawing/2014/main" id="{706802EA-0B81-C37D-8652-4F6045A65D3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87264" y="2998437"/>
            <a:ext cx="2617472" cy="27256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5" name="Text Placeholder 15">
            <a:extLst>
              <a:ext uri="{FF2B5EF4-FFF2-40B4-BE49-F238E27FC236}">
                <a16:creationId xmlns:a16="http://schemas.microsoft.com/office/drawing/2014/main" id="{62D60E56-533D-B8CD-0468-642C08DEA6B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778240" y="2511018"/>
            <a:ext cx="2617472" cy="18415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6" name="Text Placeholder 25">
            <a:extLst>
              <a:ext uri="{FF2B5EF4-FFF2-40B4-BE49-F238E27FC236}">
                <a16:creationId xmlns:a16="http://schemas.microsoft.com/office/drawing/2014/main" id="{A74F7423-7A12-C6F0-EEB9-47CADBFED4C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78240" y="2732994"/>
            <a:ext cx="2617472" cy="196622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7" name="Text Placeholder 27">
            <a:extLst>
              <a:ext uri="{FF2B5EF4-FFF2-40B4-BE49-F238E27FC236}">
                <a16:creationId xmlns:a16="http://schemas.microsoft.com/office/drawing/2014/main" id="{B3F9D801-3437-4551-4A25-433FD4EED7D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778240" y="2998437"/>
            <a:ext cx="2617472" cy="27256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8" name="Text Placeholder 15">
            <a:extLst>
              <a:ext uri="{FF2B5EF4-FFF2-40B4-BE49-F238E27FC236}">
                <a16:creationId xmlns:a16="http://schemas.microsoft.com/office/drawing/2014/main" id="{1DC78370-79E2-F0D2-4FFE-87C11F775D3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288" y="5006245"/>
            <a:ext cx="2617472" cy="18415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9" name="Text Placeholder 25">
            <a:extLst>
              <a:ext uri="{FF2B5EF4-FFF2-40B4-BE49-F238E27FC236}">
                <a16:creationId xmlns:a16="http://schemas.microsoft.com/office/drawing/2014/main" id="{F6E33454-B6CC-9E6B-5D5D-EA47FC7C48B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6288" y="5228221"/>
            <a:ext cx="2617472" cy="196622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0" name="Text Placeholder 27">
            <a:extLst>
              <a:ext uri="{FF2B5EF4-FFF2-40B4-BE49-F238E27FC236}">
                <a16:creationId xmlns:a16="http://schemas.microsoft.com/office/drawing/2014/main" id="{3EDDFB60-793E-63B2-36B7-605BEC9941C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96288" y="5493664"/>
            <a:ext cx="2617472" cy="27256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1" name="Picture Placeholder 90">
            <a:extLst>
              <a:ext uri="{FF2B5EF4-FFF2-40B4-BE49-F238E27FC236}">
                <a16:creationId xmlns:a16="http://schemas.microsoft.com/office/drawing/2014/main" id="{8DC0B008-C279-6257-7E1B-940C43C8256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42900" y="3866827"/>
            <a:ext cx="3524248" cy="2270502"/>
          </a:xfrm>
          <a:custGeom>
            <a:avLst/>
            <a:gdLst>
              <a:gd name="connsiteX0" fmla="*/ 352430 w 3524248"/>
              <a:gd name="connsiteY0" fmla="*/ 1076325 h 2270502"/>
              <a:gd name="connsiteX1" fmla="*/ 247649 w 3524248"/>
              <a:gd name="connsiteY1" fmla="*/ 1181106 h 2270502"/>
              <a:gd name="connsiteX2" fmla="*/ 247649 w 3524248"/>
              <a:gd name="connsiteY2" fmla="*/ 1885944 h 2270502"/>
              <a:gd name="connsiteX3" fmla="*/ 352430 w 3524248"/>
              <a:gd name="connsiteY3" fmla="*/ 1990725 h 2270502"/>
              <a:gd name="connsiteX4" fmla="*/ 3171818 w 3524248"/>
              <a:gd name="connsiteY4" fmla="*/ 1990725 h 2270502"/>
              <a:gd name="connsiteX5" fmla="*/ 3276599 w 3524248"/>
              <a:gd name="connsiteY5" fmla="*/ 1885944 h 2270502"/>
              <a:gd name="connsiteX6" fmla="*/ 3276599 w 3524248"/>
              <a:gd name="connsiteY6" fmla="*/ 1181106 h 2270502"/>
              <a:gd name="connsiteX7" fmla="*/ 3171818 w 3524248"/>
              <a:gd name="connsiteY7" fmla="*/ 1076325 h 2270502"/>
              <a:gd name="connsiteX8" fmla="*/ 247803 w 3524248"/>
              <a:gd name="connsiteY8" fmla="*/ 0 h 2270502"/>
              <a:gd name="connsiteX9" fmla="*/ 3276445 w 3524248"/>
              <a:gd name="connsiteY9" fmla="*/ 0 h 2270502"/>
              <a:gd name="connsiteX10" fmla="*/ 3524248 w 3524248"/>
              <a:gd name="connsiteY10" fmla="*/ 247803 h 2270502"/>
              <a:gd name="connsiteX11" fmla="*/ 3524248 w 3524248"/>
              <a:gd name="connsiteY11" fmla="*/ 2022699 h 2270502"/>
              <a:gd name="connsiteX12" fmla="*/ 3276445 w 3524248"/>
              <a:gd name="connsiteY12" fmla="*/ 2270502 h 2270502"/>
              <a:gd name="connsiteX13" fmla="*/ 247803 w 3524248"/>
              <a:gd name="connsiteY13" fmla="*/ 2270502 h 2270502"/>
              <a:gd name="connsiteX14" fmla="*/ 0 w 3524248"/>
              <a:gd name="connsiteY14" fmla="*/ 2022699 h 2270502"/>
              <a:gd name="connsiteX15" fmla="*/ 0 w 3524248"/>
              <a:gd name="connsiteY15" fmla="*/ 247803 h 2270502"/>
              <a:gd name="connsiteX16" fmla="*/ 247803 w 3524248"/>
              <a:gd name="connsiteY16" fmla="*/ 0 h 227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524248" h="2270502">
                <a:moveTo>
                  <a:pt x="352430" y="1076325"/>
                </a:moveTo>
                <a:cubicBezTo>
                  <a:pt x="294561" y="1076325"/>
                  <a:pt x="247649" y="1123237"/>
                  <a:pt x="247649" y="1181106"/>
                </a:cubicBezTo>
                <a:lnTo>
                  <a:pt x="247649" y="1885944"/>
                </a:lnTo>
                <a:cubicBezTo>
                  <a:pt x="247649" y="1943813"/>
                  <a:pt x="294561" y="1990725"/>
                  <a:pt x="352430" y="1990725"/>
                </a:cubicBezTo>
                <a:lnTo>
                  <a:pt x="3171818" y="1990725"/>
                </a:lnTo>
                <a:cubicBezTo>
                  <a:pt x="3229687" y="1990725"/>
                  <a:pt x="3276599" y="1943813"/>
                  <a:pt x="3276599" y="1885944"/>
                </a:cubicBezTo>
                <a:lnTo>
                  <a:pt x="3276599" y="1181106"/>
                </a:lnTo>
                <a:cubicBezTo>
                  <a:pt x="3276599" y="1123237"/>
                  <a:pt x="3229687" y="1076325"/>
                  <a:pt x="3171818" y="1076325"/>
                </a:cubicBezTo>
                <a:close/>
                <a:moveTo>
                  <a:pt x="247803" y="0"/>
                </a:moveTo>
                <a:lnTo>
                  <a:pt x="3276445" y="0"/>
                </a:lnTo>
                <a:cubicBezTo>
                  <a:pt x="3413303" y="0"/>
                  <a:pt x="3524248" y="110945"/>
                  <a:pt x="3524248" y="247803"/>
                </a:cubicBezTo>
                <a:lnTo>
                  <a:pt x="3524248" y="2022699"/>
                </a:lnTo>
                <a:cubicBezTo>
                  <a:pt x="3524248" y="2159557"/>
                  <a:pt x="3413303" y="2270502"/>
                  <a:pt x="3276445" y="2270502"/>
                </a:cubicBezTo>
                <a:lnTo>
                  <a:pt x="247803" y="2270502"/>
                </a:lnTo>
                <a:cubicBezTo>
                  <a:pt x="110945" y="2270502"/>
                  <a:pt x="0" y="2159557"/>
                  <a:pt x="0" y="2022699"/>
                </a:cubicBezTo>
                <a:lnTo>
                  <a:pt x="0" y="247803"/>
                </a:lnTo>
                <a:cubicBezTo>
                  <a:pt x="0" y="110945"/>
                  <a:pt x="110945" y="0"/>
                  <a:pt x="247803" y="0"/>
                </a:cubicBezTo>
                <a:close/>
              </a:path>
            </a:pathLst>
          </a:custGeom>
          <a:solidFill>
            <a:srgbClr val="08283B"/>
          </a:solidFill>
        </p:spPr>
        <p:txBody>
          <a:bodyPr vert="horz" wrap="square" lIns="0" tIns="0" rIns="0" bIns="0" rtlCol="0">
            <a:noAutofit/>
          </a:bodyPr>
          <a:lstStyle>
            <a:lvl1pPr marL="0" indent="0" algn="ctr">
              <a:buNone/>
              <a:defRPr lang="en-GB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92" name="Picture Placeholder 91">
            <a:extLst>
              <a:ext uri="{FF2B5EF4-FFF2-40B4-BE49-F238E27FC236}">
                <a16:creationId xmlns:a16="http://schemas.microsoft.com/office/drawing/2014/main" id="{42CF1775-70C9-5BED-23D4-DB4708C2777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333876" y="3866827"/>
            <a:ext cx="3524248" cy="2270502"/>
          </a:xfrm>
          <a:custGeom>
            <a:avLst/>
            <a:gdLst>
              <a:gd name="connsiteX0" fmla="*/ 352430 w 3524248"/>
              <a:gd name="connsiteY0" fmla="*/ 1076325 h 2270502"/>
              <a:gd name="connsiteX1" fmla="*/ 247649 w 3524248"/>
              <a:gd name="connsiteY1" fmla="*/ 1181106 h 2270502"/>
              <a:gd name="connsiteX2" fmla="*/ 247649 w 3524248"/>
              <a:gd name="connsiteY2" fmla="*/ 1885944 h 2270502"/>
              <a:gd name="connsiteX3" fmla="*/ 352430 w 3524248"/>
              <a:gd name="connsiteY3" fmla="*/ 1990725 h 2270502"/>
              <a:gd name="connsiteX4" fmla="*/ 3171818 w 3524248"/>
              <a:gd name="connsiteY4" fmla="*/ 1990725 h 2270502"/>
              <a:gd name="connsiteX5" fmla="*/ 3276599 w 3524248"/>
              <a:gd name="connsiteY5" fmla="*/ 1885944 h 2270502"/>
              <a:gd name="connsiteX6" fmla="*/ 3276599 w 3524248"/>
              <a:gd name="connsiteY6" fmla="*/ 1181106 h 2270502"/>
              <a:gd name="connsiteX7" fmla="*/ 3171818 w 3524248"/>
              <a:gd name="connsiteY7" fmla="*/ 1076325 h 2270502"/>
              <a:gd name="connsiteX8" fmla="*/ 247803 w 3524248"/>
              <a:gd name="connsiteY8" fmla="*/ 0 h 2270502"/>
              <a:gd name="connsiteX9" fmla="*/ 3276445 w 3524248"/>
              <a:gd name="connsiteY9" fmla="*/ 0 h 2270502"/>
              <a:gd name="connsiteX10" fmla="*/ 3524248 w 3524248"/>
              <a:gd name="connsiteY10" fmla="*/ 247803 h 2270502"/>
              <a:gd name="connsiteX11" fmla="*/ 3524248 w 3524248"/>
              <a:gd name="connsiteY11" fmla="*/ 2022699 h 2270502"/>
              <a:gd name="connsiteX12" fmla="*/ 3276445 w 3524248"/>
              <a:gd name="connsiteY12" fmla="*/ 2270502 h 2270502"/>
              <a:gd name="connsiteX13" fmla="*/ 247803 w 3524248"/>
              <a:gd name="connsiteY13" fmla="*/ 2270502 h 2270502"/>
              <a:gd name="connsiteX14" fmla="*/ 0 w 3524248"/>
              <a:gd name="connsiteY14" fmla="*/ 2022699 h 2270502"/>
              <a:gd name="connsiteX15" fmla="*/ 0 w 3524248"/>
              <a:gd name="connsiteY15" fmla="*/ 247803 h 2270502"/>
              <a:gd name="connsiteX16" fmla="*/ 247803 w 3524248"/>
              <a:gd name="connsiteY16" fmla="*/ 0 h 227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524248" h="2270502">
                <a:moveTo>
                  <a:pt x="352430" y="1076325"/>
                </a:moveTo>
                <a:cubicBezTo>
                  <a:pt x="294561" y="1076325"/>
                  <a:pt x="247649" y="1123237"/>
                  <a:pt x="247649" y="1181106"/>
                </a:cubicBezTo>
                <a:lnTo>
                  <a:pt x="247649" y="1885944"/>
                </a:lnTo>
                <a:cubicBezTo>
                  <a:pt x="247649" y="1943813"/>
                  <a:pt x="294561" y="1990725"/>
                  <a:pt x="352430" y="1990725"/>
                </a:cubicBezTo>
                <a:lnTo>
                  <a:pt x="3171818" y="1990725"/>
                </a:lnTo>
                <a:cubicBezTo>
                  <a:pt x="3229687" y="1990725"/>
                  <a:pt x="3276599" y="1943813"/>
                  <a:pt x="3276599" y="1885944"/>
                </a:cubicBezTo>
                <a:lnTo>
                  <a:pt x="3276599" y="1181106"/>
                </a:lnTo>
                <a:cubicBezTo>
                  <a:pt x="3276599" y="1123237"/>
                  <a:pt x="3229687" y="1076325"/>
                  <a:pt x="3171818" y="1076325"/>
                </a:cubicBezTo>
                <a:close/>
                <a:moveTo>
                  <a:pt x="247803" y="0"/>
                </a:moveTo>
                <a:lnTo>
                  <a:pt x="3276445" y="0"/>
                </a:lnTo>
                <a:cubicBezTo>
                  <a:pt x="3413303" y="0"/>
                  <a:pt x="3524248" y="110945"/>
                  <a:pt x="3524248" y="247803"/>
                </a:cubicBezTo>
                <a:lnTo>
                  <a:pt x="3524248" y="2022699"/>
                </a:lnTo>
                <a:cubicBezTo>
                  <a:pt x="3524248" y="2159557"/>
                  <a:pt x="3413303" y="2270502"/>
                  <a:pt x="3276445" y="2270502"/>
                </a:cubicBezTo>
                <a:lnTo>
                  <a:pt x="247803" y="2270502"/>
                </a:lnTo>
                <a:cubicBezTo>
                  <a:pt x="110945" y="2270502"/>
                  <a:pt x="0" y="2159557"/>
                  <a:pt x="0" y="2022699"/>
                </a:cubicBezTo>
                <a:lnTo>
                  <a:pt x="0" y="247803"/>
                </a:lnTo>
                <a:cubicBezTo>
                  <a:pt x="0" y="110945"/>
                  <a:pt x="110945" y="0"/>
                  <a:pt x="247803" y="0"/>
                </a:cubicBezTo>
                <a:close/>
              </a:path>
            </a:pathLst>
          </a:custGeom>
          <a:solidFill>
            <a:srgbClr val="08283B"/>
          </a:solidFill>
        </p:spPr>
        <p:txBody>
          <a:bodyPr vert="horz" wrap="square" lIns="0" tIns="0" rIns="0" bIns="0" rtlCol="0">
            <a:noAutofit/>
          </a:bodyPr>
          <a:lstStyle>
            <a:lvl1pPr marL="0" indent="0" algn="ctr"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</a:t>
            </a:r>
          </a:p>
        </p:txBody>
      </p:sp>
      <p:sp>
        <p:nvSpPr>
          <p:cNvPr id="93" name="Picture Placeholder 92">
            <a:extLst>
              <a:ext uri="{FF2B5EF4-FFF2-40B4-BE49-F238E27FC236}">
                <a16:creationId xmlns:a16="http://schemas.microsoft.com/office/drawing/2014/main" id="{D210932C-97A1-37FA-5E42-570E1A187173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324852" y="3866827"/>
            <a:ext cx="3524248" cy="2270502"/>
          </a:xfrm>
          <a:custGeom>
            <a:avLst/>
            <a:gdLst>
              <a:gd name="connsiteX0" fmla="*/ 352430 w 3524248"/>
              <a:gd name="connsiteY0" fmla="*/ 1076325 h 2270502"/>
              <a:gd name="connsiteX1" fmla="*/ 247649 w 3524248"/>
              <a:gd name="connsiteY1" fmla="*/ 1181106 h 2270502"/>
              <a:gd name="connsiteX2" fmla="*/ 247649 w 3524248"/>
              <a:gd name="connsiteY2" fmla="*/ 1885944 h 2270502"/>
              <a:gd name="connsiteX3" fmla="*/ 352430 w 3524248"/>
              <a:gd name="connsiteY3" fmla="*/ 1990725 h 2270502"/>
              <a:gd name="connsiteX4" fmla="*/ 3171818 w 3524248"/>
              <a:gd name="connsiteY4" fmla="*/ 1990725 h 2270502"/>
              <a:gd name="connsiteX5" fmla="*/ 3276599 w 3524248"/>
              <a:gd name="connsiteY5" fmla="*/ 1885944 h 2270502"/>
              <a:gd name="connsiteX6" fmla="*/ 3276599 w 3524248"/>
              <a:gd name="connsiteY6" fmla="*/ 1181106 h 2270502"/>
              <a:gd name="connsiteX7" fmla="*/ 3171818 w 3524248"/>
              <a:gd name="connsiteY7" fmla="*/ 1076325 h 2270502"/>
              <a:gd name="connsiteX8" fmla="*/ 247803 w 3524248"/>
              <a:gd name="connsiteY8" fmla="*/ 0 h 2270502"/>
              <a:gd name="connsiteX9" fmla="*/ 3276445 w 3524248"/>
              <a:gd name="connsiteY9" fmla="*/ 0 h 2270502"/>
              <a:gd name="connsiteX10" fmla="*/ 3524248 w 3524248"/>
              <a:gd name="connsiteY10" fmla="*/ 247803 h 2270502"/>
              <a:gd name="connsiteX11" fmla="*/ 3524248 w 3524248"/>
              <a:gd name="connsiteY11" fmla="*/ 2022699 h 2270502"/>
              <a:gd name="connsiteX12" fmla="*/ 3276445 w 3524248"/>
              <a:gd name="connsiteY12" fmla="*/ 2270502 h 2270502"/>
              <a:gd name="connsiteX13" fmla="*/ 247803 w 3524248"/>
              <a:gd name="connsiteY13" fmla="*/ 2270502 h 2270502"/>
              <a:gd name="connsiteX14" fmla="*/ 0 w 3524248"/>
              <a:gd name="connsiteY14" fmla="*/ 2022699 h 2270502"/>
              <a:gd name="connsiteX15" fmla="*/ 0 w 3524248"/>
              <a:gd name="connsiteY15" fmla="*/ 247803 h 2270502"/>
              <a:gd name="connsiteX16" fmla="*/ 247803 w 3524248"/>
              <a:gd name="connsiteY16" fmla="*/ 0 h 227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524248" h="2270502">
                <a:moveTo>
                  <a:pt x="352430" y="1076325"/>
                </a:moveTo>
                <a:cubicBezTo>
                  <a:pt x="294561" y="1076325"/>
                  <a:pt x="247649" y="1123237"/>
                  <a:pt x="247649" y="1181106"/>
                </a:cubicBezTo>
                <a:lnTo>
                  <a:pt x="247649" y="1885944"/>
                </a:lnTo>
                <a:cubicBezTo>
                  <a:pt x="247649" y="1943813"/>
                  <a:pt x="294561" y="1990725"/>
                  <a:pt x="352430" y="1990725"/>
                </a:cubicBezTo>
                <a:lnTo>
                  <a:pt x="3171818" y="1990725"/>
                </a:lnTo>
                <a:cubicBezTo>
                  <a:pt x="3229687" y="1990725"/>
                  <a:pt x="3276599" y="1943813"/>
                  <a:pt x="3276599" y="1885944"/>
                </a:cubicBezTo>
                <a:lnTo>
                  <a:pt x="3276599" y="1181106"/>
                </a:lnTo>
                <a:cubicBezTo>
                  <a:pt x="3276599" y="1123237"/>
                  <a:pt x="3229687" y="1076325"/>
                  <a:pt x="3171818" y="1076325"/>
                </a:cubicBezTo>
                <a:close/>
                <a:moveTo>
                  <a:pt x="247803" y="0"/>
                </a:moveTo>
                <a:lnTo>
                  <a:pt x="3276445" y="0"/>
                </a:lnTo>
                <a:cubicBezTo>
                  <a:pt x="3413303" y="0"/>
                  <a:pt x="3524248" y="110945"/>
                  <a:pt x="3524248" y="247803"/>
                </a:cubicBezTo>
                <a:lnTo>
                  <a:pt x="3524248" y="2022699"/>
                </a:lnTo>
                <a:cubicBezTo>
                  <a:pt x="3524248" y="2159557"/>
                  <a:pt x="3413303" y="2270502"/>
                  <a:pt x="3276445" y="2270502"/>
                </a:cubicBezTo>
                <a:lnTo>
                  <a:pt x="247803" y="2270502"/>
                </a:lnTo>
                <a:cubicBezTo>
                  <a:pt x="110945" y="2270502"/>
                  <a:pt x="0" y="2159557"/>
                  <a:pt x="0" y="2022699"/>
                </a:cubicBezTo>
                <a:lnTo>
                  <a:pt x="0" y="247803"/>
                </a:lnTo>
                <a:cubicBezTo>
                  <a:pt x="0" y="110945"/>
                  <a:pt x="110945" y="0"/>
                  <a:pt x="247803" y="0"/>
                </a:cubicBezTo>
                <a:close/>
              </a:path>
            </a:pathLst>
          </a:custGeom>
          <a:solidFill>
            <a:srgbClr val="08283B"/>
          </a:solidFill>
        </p:spPr>
        <p:txBody>
          <a:bodyPr vert="horz" wrap="square" lIns="0" tIns="0" rIns="0" bIns="0" rtlCol="0">
            <a:noAutofit/>
          </a:bodyPr>
          <a:lstStyle>
            <a:lvl1pPr marL="0" indent="0" algn="ctr">
              <a:buNone/>
              <a:defRPr lang="en-GB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94" name="Text Placeholder 15">
            <a:extLst>
              <a:ext uri="{FF2B5EF4-FFF2-40B4-BE49-F238E27FC236}">
                <a16:creationId xmlns:a16="http://schemas.microsoft.com/office/drawing/2014/main" id="{A82E3AD6-7FF4-C0B3-67C1-B8F1F688819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787264" y="5006245"/>
            <a:ext cx="2617472" cy="18415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5" name="Text Placeholder 25">
            <a:extLst>
              <a:ext uri="{FF2B5EF4-FFF2-40B4-BE49-F238E27FC236}">
                <a16:creationId xmlns:a16="http://schemas.microsoft.com/office/drawing/2014/main" id="{831D9A2B-123A-2002-3753-9A6D3825F221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787264" y="5228221"/>
            <a:ext cx="2617472" cy="196622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Text Placeholder 27">
            <a:extLst>
              <a:ext uri="{FF2B5EF4-FFF2-40B4-BE49-F238E27FC236}">
                <a16:creationId xmlns:a16="http://schemas.microsoft.com/office/drawing/2014/main" id="{424C391C-4638-08BE-7880-BDB4F8830A1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787264" y="5493664"/>
            <a:ext cx="2617472" cy="27256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7" name="Text Placeholder 15">
            <a:extLst>
              <a:ext uri="{FF2B5EF4-FFF2-40B4-BE49-F238E27FC236}">
                <a16:creationId xmlns:a16="http://schemas.microsoft.com/office/drawing/2014/main" id="{78FA19FD-ED46-0E07-D1B3-8ED61E62009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778240" y="5006245"/>
            <a:ext cx="2617472" cy="18415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8" name="Text Placeholder 25">
            <a:extLst>
              <a:ext uri="{FF2B5EF4-FFF2-40B4-BE49-F238E27FC236}">
                <a16:creationId xmlns:a16="http://schemas.microsoft.com/office/drawing/2014/main" id="{22B71061-2BBB-702E-15BD-907C2CF84D6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778240" y="5228221"/>
            <a:ext cx="2617472" cy="196622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9" name="Text Placeholder 27">
            <a:extLst>
              <a:ext uri="{FF2B5EF4-FFF2-40B4-BE49-F238E27FC236}">
                <a16:creationId xmlns:a16="http://schemas.microsoft.com/office/drawing/2014/main" id="{0194AE19-FC42-B52F-7D20-8470916860E0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778240" y="5493664"/>
            <a:ext cx="2617472" cy="27256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9010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_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A8CF49-85F4-4B1B-883C-BE3628555B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0861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4A8CF49-85F4-4B1B-883C-BE3628555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B470613-F83B-CF11-F1D4-EC5E781A5776}"/>
              </a:ext>
            </a:extLst>
          </p:cNvPr>
          <p:cNvSpPr/>
          <p:nvPr userDrawn="1"/>
        </p:nvSpPr>
        <p:spPr>
          <a:xfrm rot="13500000">
            <a:off x="7563889" y="-817843"/>
            <a:ext cx="5926969" cy="4088630"/>
          </a:xfrm>
          <a:custGeom>
            <a:avLst/>
            <a:gdLst>
              <a:gd name="connsiteX0" fmla="*/ 713929 w 5926969"/>
              <a:gd name="connsiteY0" fmla="*/ 2148897 h 4088630"/>
              <a:gd name="connsiteX1" fmla="*/ 0 w 5926969"/>
              <a:gd name="connsiteY1" fmla="*/ 1434968 h 4088630"/>
              <a:gd name="connsiteX2" fmla="*/ 0 w 5926969"/>
              <a:gd name="connsiteY2" fmla="*/ 370436 h 4088630"/>
              <a:gd name="connsiteX3" fmla="*/ 356965 w 5926969"/>
              <a:gd name="connsiteY3" fmla="*/ 13471 h 4088630"/>
              <a:gd name="connsiteX4" fmla="*/ 713930 w 5926969"/>
              <a:gd name="connsiteY4" fmla="*/ 370436 h 4088630"/>
              <a:gd name="connsiteX5" fmla="*/ 3361289 w 5926969"/>
              <a:gd name="connsiteY5" fmla="*/ 3381003 h 4088630"/>
              <a:gd name="connsiteX6" fmla="*/ 2653662 w 5926969"/>
              <a:gd name="connsiteY6" fmla="*/ 4088630 h 4088630"/>
              <a:gd name="connsiteX7" fmla="*/ 2647359 w 5926969"/>
              <a:gd name="connsiteY7" fmla="*/ 4082327 h 4088630"/>
              <a:gd name="connsiteX8" fmla="*/ 2647360 w 5926969"/>
              <a:gd name="connsiteY8" fmla="*/ 438588 h 4088630"/>
              <a:gd name="connsiteX9" fmla="*/ 3004325 w 5926969"/>
              <a:gd name="connsiteY9" fmla="*/ 81623 h 4088630"/>
              <a:gd name="connsiteX10" fmla="*/ 3361290 w 5926969"/>
              <a:gd name="connsiteY10" fmla="*/ 438588 h 4088630"/>
              <a:gd name="connsiteX11" fmla="*/ 5926969 w 5926969"/>
              <a:gd name="connsiteY11" fmla="*/ 815324 h 4088630"/>
              <a:gd name="connsiteX12" fmla="*/ 5213039 w 5926969"/>
              <a:gd name="connsiteY12" fmla="*/ 1529253 h 4088630"/>
              <a:gd name="connsiteX13" fmla="*/ 5213039 w 5926969"/>
              <a:gd name="connsiteY13" fmla="*/ 356965 h 4088630"/>
              <a:gd name="connsiteX14" fmla="*/ 5570004 w 5926969"/>
              <a:gd name="connsiteY14" fmla="*/ 0 h 4088630"/>
              <a:gd name="connsiteX15" fmla="*/ 5926969 w 5926969"/>
              <a:gd name="connsiteY15" fmla="*/ 356965 h 4088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926969" h="4088630">
                <a:moveTo>
                  <a:pt x="713929" y="2148897"/>
                </a:moveTo>
                <a:lnTo>
                  <a:pt x="0" y="1434968"/>
                </a:lnTo>
                <a:lnTo>
                  <a:pt x="0" y="370436"/>
                </a:lnTo>
                <a:cubicBezTo>
                  <a:pt x="0" y="173290"/>
                  <a:pt x="159819" y="13471"/>
                  <a:pt x="356965" y="13471"/>
                </a:cubicBezTo>
                <a:cubicBezTo>
                  <a:pt x="554111" y="13471"/>
                  <a:pt x="713930" y="173290"/>
                  <a:pt x="713930" y="370436"/>
                </a:cubicBezTo>
                <a:close/>
                <a:moveTo>
                  <a:pt x="3361289" y="3381003"/>
                </a:moveTo>
                <a:lnTo>
                  <a:pt x="2653662" y="4088630"/>
                </a:lnTo>
                <a:lnTo>
                  <a:pt x="2647359" y="4082327"/>
                </a:lnTo>
                <a:lnTo>
                  <a:pt x="2647360" y="438588"/>
                </a:lnTo>
                <a:cubicBezTo>
                  <a:pt x="2647359" y="241442"/>
                  <a:pt x="2807178" y="81624"/>
                  <a:pt x="3004325" y="81623"/>
                </a:cubicBezTo>
                <a:cubicBezTo>
                  <a:pt x="3201470" y="81623"/>
                  <a:pt x="3361289" y="241442"/>
                  <a:pt x="3361290" y="438588"/>
                </a:cubicBezTo>
                <a:close/>
                <a:moveTo>
                  <a:pt x="5926969" y="815324"/>
                </a:moveTo>
                <a:lnTo>
                  <a:pt x="5213039" y="1529253"/>
                </a:lnTo>
                <a:lnTo>
                  <a:pt x="5213039" y="356965"/>
                </a:lnTo>
                <a:cubicBezTo>
                  <a:pt x="5213039" y="159819"/>
                  <a:pt x="5372858" y="0"/>
                  <a:pt x="5570004" y="0"/>
                </a:cubicBezTo>
                <a:cubicBezTo>
                  <a:pt x="5767150" y="0"/>
                  <a:pt x="5926969" y="159819"/>
                  <a:pt x="5926969" y="356965"/>
                </a:cubicBezTo>
                <a:close/>
              </a:path>
            </a:pathLst>
          </a:custGeom>
          <a:solidFill>
            <a:srgbClr val="0946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86FC8AF-04BF-457C-CE52-504596BD8E1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  <a:solidFill>
            <a:schemeClr val="accent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1EEC1B5-0BE7-4DA7-A023-7E5EEC8D98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ECA21E8-4A10-D453-B8DB-4B238B8DAF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912" y="952501"/>
            <a:ext cx="5332187" cy="945649"/>
          </a:xfrm>
        </p:spPr>
        <p:txBody>
          <a:bodyPr vert="horz"/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078C5E40-576D-E80A-34A3-910664237C7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1440F41A-AAD0-DF18-6E88-566BF1E7CD2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94" t="43871" r="21794" b="43871"/>
          <a:stretch/>
        </p:blipFill>
        <p:spPr>
          <a:xfrm>
            <a:off x="10185399" y="411163"/>
            <a:ext cx="1851933" cy="284554"/>
          </a:xfrm>
          <a:prstGeom prst="rect">
            <a:avLst/>
          </a:prstGeom>
        </p:spPr>
      </p:pic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6E1AA9FB-8DFA-C829-9765-C195695AC3C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516913" y="2292919"/>
            <a:ext cx="501614" cy="501615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.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5262430B-1F19-58E8-DE9F-EF9DAF946D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43976" y="2292920"/>
            <a:ext cx="1752374" cy="172472"/>
          </a:xfrm>
          <a:noFill/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ED59ACCB-56F6-CFA5-65DD-C0E1D57FF59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469662" y="2292919"/>
            <a:ext cx="501614" cy="501615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.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538A0698-AC84-E845-3AF1-7A559E9ABE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096725" y="2292920"/>
            <a:ext cx="1752374" cy="172472"/>
          </a:xfrm>
          <a:noFill/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8EF8F314-36D8-3A0C-81CC-54D1C840D41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516913" y="3184637"/>
            <a:ext cx="501614" cy="501615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.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8E8CB5C3-E419-6C28-4D24-9F5DEF175E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43976" y="3184638"/>
            <a:ext cx="1752374" cy="172472"/>
          </a:xfrm>
          <a:noFill/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87A4DB32-0FFC-F8AD-11FA-4CD909430FE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469662" y="3184637"/>
            <a:ext cx="501614" cy="501615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.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5E94008D-FF4E-F3F3-758B-B030CAB2387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096725" y="3184638"/>
            <a:ext cx="1752374" cy="172472"/>
          </a:xfrm>
          <a:noFill/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17D60C5F-50C5-8DCC-75C6-F4E3E744EBD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7FDD8AAE-7421-DB80-B321-7DC357E491A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43976" y="2535826"/>
            <a:ext cx="1752374" cy="172472"/>
          </a:xfrm>
          <a:noFill/>
        </p:spPr>
        <p:txBody>
          <a:bodyPr anchor="ctr"/>
          <a:lstStyle>
            <a:lvl1pPr marL="0" indent="0">
              <a:buNone/>
              <a:defRPr sz="1050" b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8516F79-3426-11F4-8D28-074843D962E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096725" y="2535826"/>
            <a:ext cx="1752374" cy="172472"/>
          </a:xfrm>
          <a:noFill/>
        </p:spPr>
        <p:txBody>
          <a:bodyPr anchor="ctr"/>
          <a:lstStyle>
            <a:lvl1pPr marL="0" indent="0">
              <a:buNone/>
              <a:defRPr sz="1050" b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ECDD1C26-9376-650C-F644-7E5C5D4CE26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143976" y="3427544"/>
            <a:ext cx="1752374" cy="172472"/>
          </a:xfrm>
          <a:noFill/>
        </p:spPr>
        <p:txBody>
          <a:bodyPr anchor="ctr"/>
          <a:lstStyle>
            <a:lvl1pPr marL="0" indent="0">
              <a:buNone/>
              <a:defRPr sz="1050" b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0A7756E4-F57A-F533-CBDF-0E69D2EEB9C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096725" y="3427544"/>
            <a:ext cx="1752374" cy="172472"/>
          </a:xfrm>
          <a:noFill/>
        </p:spPr>
        <p:txBody>
          <a:bodyPr anchor="ctr"/>
          <a:lstStyle>
            <a:lvl1pPr marL="0" indent="0">
              <a:buNone/>
              <a:defRPr sz="1050" b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371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D713FDC-7004-7B88-2AD5-007FA40608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3671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713FDC-7004-7B88-2AD5-007FA40608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0F956EF0-D607-C6CA-9193-294F5DD54CD5}"/>
              </a:ext>
            </a:extLst>
          </p:cNvPr>
          <p:cNvSpPr/>
          <p:nvPr userDrawn="1"/>
        </p:nvSpPr>
        <p:spPr>
          <a:xfrm rot="2700000">
            <a:off x="269617" y="19111"/>
            <a:ext cx="12006730" cy="8535733"/>
          </a:xfrm>
          <a:custGeom>
            <a:avLst/>
            <a:gdLst>
              <a:gd name="connsiteX0" fmla="*/ 10717530 w 12006730"/>
              <a:gd name="connsiteY0" fmla="*/ 611276 h 8535733"/>
              <a:gd name="connsiteX1" fmla="*/ 12006730 w 12006730"/>
              <a:gd name="connsiteY1" fmla="*/ 1900477 h 8535733"/>
              <a:gd name="connsiteX2" fmla="*/ 10717529 w 12006730"/>
              <a:gd name="connsiteY2" fmla="*/ 3189678 h 8535733"/>
              <a:gd name="connsiteX3" fmla="*/ 5561181 w 12006730"/>
              <a:gd name="connsiteY3" fmla="*/ 189707 h 8535733"/>
              <a:gd name="connsiteX4" fmla="*/ 6019175 w 12006730"/>
              <a:gd name="connsiteY4" fmla="*/ 0 h 8535733"/>
              <a:gd name="connsiteX5" fmla="*/ 6666875 w 12006730"/>
              <a:gd name="connsiteY5" fmla="*/ 647700 h 8535733"/>
              <a:gd name="connsiteX6" fmla="*/ 6666874 w 12006730"/>
              <a:gd name="connsiteY6" fmla="*/ 7240333 h 8535733"/>
              <a:gd name="connsiteX7" fmla="*/ 5371474 w 12006730"/>
              <a:gd name="connsiteY7" fmla="*/ 8535733 h 8535733"/>
              <a:gd name="connsiteX8" fmla="*/ 5371474 w 12006730"/>
              <a:gd name="connsiteY8" fmla="*/ 647700 h 8535733"/>
              <a:gd name="connsiteX9" fmla="*/ 5561181 w 12006730"/>
              <a:gd name="connsiteY9" fmla="*/ 189707 h 8535733"/>
              <a:gd name="connsiteX10" fmla="*/ 0 w 12006730"/>
              <a:gd name="connsiteY10" fmla="*/ 4208531 h 8535733"/>
              <a:gd name="connsiteX11" fmla="*/ 1295400 w 12006730"/>
              <a:gd name="connsiteY11" fmla="*/ 2913130 h 8535733"/>
              <a:gd name="connsiteX12" fmla="*/ 1295400 w 12006730"/>
              <a:gd name="connsiteY12" fmla="*/ 8431239 h 8535733"/>
              <a:gd name="connsiteX13" fmla="*/ 0 w 12006730"/>
              <a:gd name="connsiteY13" fmla="*/ 7135839 h 8535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006730" h="8535733">
                <a:moveTo>
                  <a:pt x="10717530" y="611276"/>
                </a:moveTo>
                <a:lnTo>
                  <a:pt x="12006730" y="1900477"/>
                </a:lnTo>
                <a:lnTo>
                  <a:pt x="10717529" y="3189678"/>
                </a:lnTo>
                <a:close/>
                <a:moveTo>
                  <a:pt x="5561181" y="189707"/>
                </a:moveTo>
                <a:cubicBezTo>
                  <a:pt x="5678391" y="72497"/>
                  <a:pt x="5840316" y="0"/>
                  <a:pt x="6019175" y="0"/>
                </a:cubicBezTo>
                <a:cubicBezTo>
                  <a:pt x="6376889" y="1"/>
                  <a:pt x="6666874" y="289985"/>
                  <a:pt x="6666875" y="647700"/>
                </a:cubicBezTo>
                <a:lnTo>
                  <a:pt x="6666874" y="7240333"/>
                </a:lnTo>
                <a:lnTo>
                  <a:pt x="5371474" y="8535733"/>
                </a:lnTo>
                <a:lnTo>
                  <a:pt x="5371474" y="647700"/>
                </a:lnTo>
                <a:cubicBezTo>
                  <a:pt x="5371474" y="468843"/>
                  <a:pt x="5443971" y="306918"/>
                  <a:pt x="5561181" y="189707"/>
                </a:cubicBezTo>
                <a:close/>
                <a:moveTo>
                  <a:pt x="0" y="4208531"/>
                </a:moveTo>
                <a:lnTo>
                  <a:pt x="1295400" y="2913130"/>
                </a:lnTo>
                <a:lnTo>
                  <a:pt x="1295400" y="8431239"/>
                </a:lnTo>
                <a:lnTo>
                  <a:pt x="0" y="7135839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23AF818B-469D-F095-C750-294A599F766E}"/>
              </a:ext>
            </a:extLst>
          </p:cNvPr>
          <p:cNvSpPr/>
          <p:nvPr userDrawn="1"/>
        </p:nvSpPr>
        <p:spPr>
          <a:xfrm>
            <a:off x="4809388" y="3703403"/>
            <a:ext cx="573881" cy="573881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66ED922-ABA4-C6F5-EE45-DC6B62095C34}"/>
              </a:ext>
            </a:extLst>
          </p:cNvPr>
          <p:cNvSpPr/>
          <p:nvPr userDrawn="1"/>
        </p:nvSpPr>
        <p:spPr>
          <a:xfrm>
            <a:off x="8532927" y="3703403"/>
            <a:ext cx="573881" cy="573881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2BA2361-E817-3704-1E2A-C6A806835884}"/>
              </a:ext>
            </a:extLst>
          </p:cNvPr>
          <p:cNvSpPr/>
          <p:nvPr userDrawn="1"/>
        </p:nvSpPr>
        <p:spPr>
          <a:xfrm>
            <a:off x="1085849" y="3703403"/>
            <a:ext cx="573881" cy="573881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58C4277-E23E-E14F-1546-A6B4A5217EA4}"/>
              </a:ext>
            </a:extLst>
          </p:cNvPr>
          <p:cNvSpPr/>
          <p:nvPr userDrawn="1"/>
        </p:nvSpPr>
        <p:spPr>
          <a:xfrm>
            <a:off x="4809388" y="1447688"/>
            <a:ext cx="573881" cy="573881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D903E0F-653A-3BCF-6ED0-F57F56928035}"/>
              </a:ext>
            </a:extLst>
          </p:cNvPr>
          <p:cNvSpPr/>
          <p:nvPr userDrawn="1"/>
        </p:nvSpPr>
        <p:spPr>
          <a:xfrm>
            <a:off x="8532927" y="1447688"/>
            <a:ext cx="573881" cy="573881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E47A1E7-3F7F-CE58-0F1C-1C77D5219DE6}"/>
              </a:ext>
            </a:extLst>
          </p:cNvPr>
          <p:cNvSpPr/>
          <p:nvPr userDrawn="1"/>
        </p:nvSpPr>
        <p:spPr>
          <a:xfrm>
            <a:off x="1085849" y="1447688"/>
            <a:ext cx="573881" cy="573881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3410BB-8360-EB84-0BC9-7F419CCEF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8C0495-D334-99BF-96D9-8BD687FD91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F97B2E1-587B-C916-2E09-3404C80B9E3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85850" y="2266950"/>
            <a:ext cx="2933700" cy="895350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17A2A58B-150E-EF6C-C766-B6E338F759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0579" y="2266950"/>
            <a:ext cx="2933700" cy="895350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91508138-B20D-13D1-FDDB-73A387EC623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35308" y="2266950"/>
            <a:ext cx="2933700" cy="895350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6DA53B32-2FAC-BC04-0925-7F694A2FB60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85850" y="4514850"/>
            <a:ext cx="2933700" cy="895350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09BEB410-6755-08AF-0A4F-3C9B565E82E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810579" y="4514850"/>
            <a:ext cx="2933700" cy="895350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E2B503EB-FCE3-C872-A63D-6EFD292DA38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35308" y="4514850"/>
            <a:ext cx="2933700" cy="895350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265CED41-A15B-6CE7-EF23-12C13C24802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311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_8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A8CF49-85F4-4B1B-883C-BE3628555B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6999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4A8CF49-85F4-4B1B-883C-BE3628555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1EEC1B5-0BE7-4DA7-A023-7E5EEC8D98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ECA21E8-4A10-D453-B8DB-4B238B8DA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spAutoFit/>
          </a:bodyPr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078C5E40-576D-E80A-34A3-910664237C7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1440F41A-AAD0-DF18-6E88-566BF1E7CD2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94" t="43871" r="21794" b="43871"/>
          <a:stretch/>
        </p:blipFill>
        <p:spPr>
          <a:xfrm>
            <a:off x="10185399" y="411163"/>
            <a:ext cx="1851933" cy="284554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7B5130-3B02-99AE-B3C0-344E24BA49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59681" y="2038350"/>
            <a:ext cx="9672638" cy="2147888"/>
          </a:xfrm>
        </p:spPr>
        <p:txBody>
          <a:bodyPr anchor="b"/>
          <a:lstStyle>
            <a:lvl1pPr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39EFE9D-5035-C99C-BB56-766FB90F510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58888" y="4514850"/>
            <a:ext cx="817562" cy="817563"/>
          </a:xfrm>
          <a:prstGeom prst="ellipse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7B5ED2D0-C041-F59F-DA95-A6B79AC26F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0EA9AC17-C294-46FD-F393-5A014B8FD04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243136" y="4629150"/>
            <a:ext cx="3483787" cy="342881"/>
          </a:xfrm>
          <a:noFill/>
        </p:spPr>
        <p:txBody>
          <a:bodyPr anchor="ctr"/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C6FC705-5456-A030-F611-312681708BA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243136" y="5014910"/>
            <a:ext cx="3483787" cy="171454"/>
          </a:xfrm>
          <a:noFill/>
        </p:spPr>
        <p:txBody>
          <a:bodyPr anchor="ctr"/>
          <a:lstStyle>
            <a:lvl1pPr marL="0" indent="0">
              <a:buNone/>
              <a:defRPr sz="1100" b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6407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_9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A8CF49-85F4-4B1B-883C-BE3628555B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3167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4A8CF49-85F4-4B1B-883C-BE3628555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ECA21E8-4A10-D453-B8DB-4B238B8DA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spAutoFit/>
          </a:bodyPr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234CB090-83A1-69F3-560B-F770B42A845C}"/>
              </a:ext>
            </a:extLst>
          </p:cNvPr>
          <p:cNvSpPr/>
          <p:nvPr userDrawn="1"/>
        </p:nvSpPr>
        <p:spPr>
          <a:xfrm rot="13500000">
            <a:off x="7563889" y="-817843"/>
            <a:ext cx="5926969" cy="4088630"/>
          </a:xfrm>
          <a:custGeom>
            <a:avLst/>
            <a:gdLst>
              <a:gd name="connsiteX0" fmla="*/ 713929 w 5926969"/>
              <a:gd name="connsiteY0" fmla="*/ 2148897 h 4088630"/>
              <a:gd name="connsiteX1" fmla="*/ 0 w 5926969"/>
              <a:gd name="connsiteY1" fmla="*/ 1434968 h 4088630"/>
              <a:gd name="connsiteX2" fmla="*/ 0 w 5926969"/>
              <a:gd name="connsiteY2" fmla="*/ 370436 h 4088630"/>
              <a:gd name="connsiteX3" fmla="*/ 356965 w 5926969"/>
              <a:gd name="connsiteY3" fmla="*/ 13471 h 4088630"/>
              <a:gd name="connsiteX4" fmla="*/ 713930 w 5926969"/>
              <a:gd name="connsiteY4" fmla="*/ 370436 h 4088630"/>
              <a:gd name="connsiteX5" fmla="*/ 3361289 w 5926969"/>
              <a:gd name="connsiteY5" fmla="*/ 3381003 h 4088630"/>
              <a:gd name="connsiteX6" fmla="*/ 2653662 w 5926969"/>
              <a:gd name="connsiteY6" fmla="*/ 4088630 h 4088630"/>
              <a:gd name="connsiteX7" fmla="*/ 2647359 w 5926969"/>
              <a:gd name="connsiteY7" fmla="*/ 4082327 h 4088630"/>
              <a:gd name="connsiteX8" fmla="*/ 2647360 w 5926969"/>
              <a:gd name="connsiteY8" fmla="*/ 438588 h 4088630"/>
              <a:gd name="connsiteX9" fmla="*/ 3004325 w 5926969"/>
              <a:gd name="connsiteY9" fmla="*/ 81623 h 4088630"/>
              <a:gd name="connsiteX10" fmla="*/ 3361290 w 5926969"/>
              <a:gd name="connsiteY10" fmla="*/ 438588 h 4088630"/>
              <a:gd name="connsiteX11" fmla="*/ 5926969 w 5926969"/>
              <a:gd name="connsiteY11" fmla="*/ 815324 h 4088630"/>
              <a:gd name="connsiteX12" fmla="*/ 5213039 w 5926969"/>
              <a:gd name="connsiteY12" fmla="*/ 1529253 h 4088630"/>
              <a:gd name="connsiteX13" fmla="*/ 5213039 w 5926969"/>
              <a:gd name="connsiteY13" fmla="*/ 356965 h 4088630"/>
              <a:gd name="connsiteX14" fmla="*/ 5570004 w 5926969"/>
              <a:gd name="connsiteY14" fmla="*/ 0 h 4088630"/>
              <a:gd name="connsiteX15" fmla="*/ 5926969 w 5926969"/>
              <a:gd name="connsiteY15" fmla="*/ 356965 h 4088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926969" h="4088630">
                <a:moveTo>
                  <a:pt x="713929" y="2148897"/>
                </a:moveTo>
                <a:lnTo>
                  <a:pt x="0" y="1434968"/>
                </a:lnTo>
                <a:lnTo>
                  <a:pt x="0" y="370436"/>
                </a:lnTo>
                <a:cubicBezTo>
                  <a:pt x="0" y="173290"/>
                  <a:pt x="159819" y="13471"/>
                  <a:pt x="356965" y="13471"/>
                </a:cubicBezTo>
                <a:cubicBezTo>
                  <a:pt x="554111" y="13471"/>
                  <a:pt x="713930" y="173290"/>
                  <a:pt x="713930" y="370436"/>
                </a:cubicBezTo>
                <a:close/>
                <a:moveTo>
                  <a:pt x="3361289" y="3381003"/>
                </a:moveTo>
                <a:lnTo>
                  <a:pt x="2653662" y="4088630"/>
                </a:lnTo>
                <a:lnTo>
                  <a:pt x="2647359" y="4082327"/>
                </a:lnTo>
                <a:lnTo>
                  <a:pt x="2647360" y="438588"/>
                </a:lnTo>
                <a:cubicBezTo>
                  <a:pt x="2647359" y="241442"/>
                  <a:pt x="2807178" y="81624"/>
                  <a:pt x="3004325" y="81623"/>
                </a:cubicBezTo>
                <a:cubicBezTo>
                  <a:pt x="3201470" y="81623"/>
                  <a:pt x="3361289" y="241442"/>
                  <a:pt x="3361290" y="438588"/>
                </a:cubicBezTo>
                <a:close/>
                <a:moveTo>
                  <a:pt x="5926969" y="815324"/>
                </a:moveTo>
                <a:lnTo>
                  <a:pt x="5213039" y="1529253"/>
                </a:lnTo>
                <a:lnTo>
                  <a:pt x="5213039" y="356965"/>
                </a:lnTo>
                <a:cubicBezTo>
                  <a:pt x="5213039" y="159819"/>
                  <a:pt x="5372858" y="0"/>
                  <a:pt x="5570004" y="0"/>
                </a:cubicBezTo>
                <a:cubicBezTo>
                  <a:pt x="5767150" y="0"/>
                  <a:pt x="5926969" y="159819"/>
                  <a:pt x="5926969" y="356965"/>
                </a:cubicBezTo>
                <a:close/>
              </a:path>
            </a:pathLst>
          </a:custGeom>
          <a:solidFill>
            <a:srgbClr val="0946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1EEC1B5-0BE7-4DA7-A023-7E5EEC8D98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078C5E40-576D-E80A-34A3-910664237C7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1440F41A-AAD0-DF18-6E88-566BF1E7CD2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94" t="43871" r="21794" b="43871"/>
          <a:stretch/>
        </p:blipFill>
        <p:spPr>
          <a:xfrm>
            <a:off x="10185399" y="411163"/>
            <a:ext cx="1851933" cy="284554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850D119-53C3-58E8-3D5D-C657D6FA92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2900" y="1600200"/>
            <a:ext cx="3638550" cy="57150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2000" b="1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90F96783-1651-A421-C6FC-143D417F4C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76725" y="1600200"/>
            <a:ext cx="3638550" cy="57150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2000" b="1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948AE28-A50E-FD44-B005-F2305B65B7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2435224"/>
            <a:ext cx="3638550" cy="57150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2000" b="1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1827F225-ED25-3608-5F6A-21DADA47864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76725" y="2435224"/>
            <a:ext cx="3638550" cy="57150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2000" b="1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C6845247-23DF-3AB5-3728-DFAB44FEC6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2900" y="3267522"/>
            <a:ext cx="3638550" cy="57150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2000" b="1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676DA5FB-B462-FC1C-F8B7-126ED1C5C7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76725" y="3267522"/>
            <a:ext cx="3638550" cy="57150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2000" b="1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BC6B9A66-593D-4C8F-DDB9-FE639C5275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2900" y="4116587"/>
            <a:ext cx="3638550" cy="57150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2000" b="1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2F5EBF05-1876-5DC4-2CD0-38D36AEA87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76725" y="4116587"/>
            <a:ext cx="3638550" cy="57150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2000" b="1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129DD5B5-8507-8E29-3637-1B6C50CB93A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2900" y="4948885"/>
            <a:ext cx="3638550" cy="57150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2000" b="1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72F8B119-2C05-7175-A843-4E17911D63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76725" y="4948885"/>
            <a:ext cx="3638550" cy="57150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2000" b="1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05A08C54-58F8-EF92-97DD-AEA9194087D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506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_10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A8CF49-85F4-4B1B-883C-BE3628555B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3468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4A8CF49-85F4-4B1B-883C-BE3628555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ECA21E8-4A10-D453-B8DB-4B238B8DA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spAutoFit/>
          </a:bodyPr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234CB090-83A1-69F3-560B-F770B42A845C}"/>
              </a:ext>
            </a:extLst>
          </p:cNvPr>
          <p:cNvSpPr/>
          <p:nvPr userDrawn="1"/>
        </p:nvSpPr>
        <p:spPr>
          <a:xfrm rot="13500000">
            <a:off x="7563889" y="-817843"/>
            <a:ext cx="5926969" cy="4088630"/>
          </a:xfrm>
          <a:custGeom>
            <a:avLst/>
            <a:gdLst>
              <a:gd name="connsiteX0" fmla="*/ 713929 w 5926969"/>
              <a:gd name="connsiteY0" fmla="*/ 2148897 h 4088630"/>
              <a:gd name="connsiteX1" fmla="*/ 0 w 5926969"/>
              <a:gd name="connsiteY1" fmla="*/ 1434968 h 4088630"/>
              <a:gd name="connsiteX2" fmla="*/ 0 w 5926969"/>
              <a:gd name="connsiteY2" fmla="*/ 370436 h 4088630"/>
              <a:gd name="connsiteX3" fmla="*/ 356965 w 5926969"/>
              <a:gd name="connsiteY3" fmla="*/ 13471 h 4088630"/>
              <a:gd name="connsiteX4" fmla="*/ 713930 w 5926969"/>
              <a:gd name="connsiteY4" fmla="*/ 370436 h 4088630"/>
              <a:gd name="connsiteX5" fmla="*/ 3361289 w 5926969"/>
              <a:gd name="connsiteY5" fmla="*/ 3381003 h 4088630"/>
              <a:gd name="connsiteX6" fmla="*/ 2653662 w 5926969"/>
              <a:gd name="connsiteY6" fmla="*/ 4088630 h 4088630"/>
              <a:gd name="connsiteX7" fmla="*/ 2647359 w 5926969"/>
              <a:gd name="connsiteY7" fmla="*/ 4082327 h 4088630"/>
              <a:gd name="connsiteX8" fmla="*/ 2647360 w 5926969"/>
              <a:gd name="connsiteY8" fmla="*/ 438588 h 4088630"/>
              <a:gd name="connsiteX9" fmla="*/ 3004325 w 5926969"/>
              <a:gd name="connsiteY9" fmla="*/ 81623 h 4088630"/>
              <a:gd name="connsiteX10" fmla="*/ 3361290 w 5926969"/>
              <a:gd name="connsiteY10" fmla="*/ 438588 h 4088630"/>
              <a:gd name="connsiteX11" fmla="*/ 5926969 w 5926969"/>
              <a:gd name="connsiteY11" fmla="*/ 815324 h 4088630"/>
              <a:gd name="connsiteX12" fmla="*/ 5213039 w 5926969"/>
              <a:gd name="connsiteY12" fmla="*/ 1529253 h 4088630"/>
              <a:gd name="connsiteX13" fmla="*/ 5213039 w 5926969"/>
              <a:gd name="connsiteY13" fmla="*/ 356965 h 4088630"/>
              <a:gd name="connsiteX14" fmla="*/ 5570004 w 5926969"/>
              <a:gd name="connsiteY14" fmla="*/ 0 h 4088630"/>
              <a:gd name="connsiteX15" fmla="*/ 5926969 w 5926969"/>
              <a:gd name="connsiteY15" fmla="*/ 356965 h 4088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926969" h="4088630">
                <a:moveTo>
                  <a:pt x="713929" y="2148897"/>
                </a:moveTo>
                <a:lnTo>
                  <a:pt x="0" y="1434968"/>
                </a:lnTo>
                <a:lnTo>
                  <a:pt x="0" y="370436"/>
                </a:lnTo>
                <a:cubicBezTo>
                  <a:pt x="0" y="173290"/>
                  <a:pt x="159819" y="13471"/>
                  <a:pt x="356965" y="13471"/>
                </a:cubicBezTo>
                <a:cubicBezTo>
                  <a:pt x="554111" y="13471"/>
                  <a:pt x="713930" y="173290"/>
                  <a:pt x="713930" y="370436"/>
                </a:cubicBezTo>
                <a:close/>
                <a:moveTo>
                  <a:pt x="3361289" y="3381003"/>
                </a:moveTo>
                <a:lnTo>
                  <a:pt x="2653662" y="4088630"/>
                </a:lnTo>
                <a:lnTo>
                  <a:pt x="2647359" y="4082327"/>
                </a:lnTo>
                <a:lnTo>
                  <a:pt x="2647360" y="438588"/>
                </a:lnTo>
                <a:cubicBezTo>
                  <a:pt x="2647359" y="241442"/>
                  <a:pt x="2807178" y="81624"/>
                  <a:pt x="3004325" y="81623"/>
                </a:cubicBezTo>
                <a:cubicBezTo>
                  <a:pt x="3201470" y="81623"/>
                  <a:pt x="3361289" y="241442"/>
                  <a:pt x="3361290" y="438588"/>
                </a:cubicBezTo>
                <a:close/>
                <a:moveTo>
                  <a:pt x="5926969" y="815324"/>
                </a:moveTo>
                <a:lnTo>
                  <a:pt x="5213039" y="1529253"/>
                </a:lnTo>
                <a:lnTo>
                  <a:pt x="5213039" y="356965"/>
                </a:lnTo>
                <a:cubicBezTo>
                  <a:pt x="5213039" y="159819"/>
                  <a:pt x="5372858" y="0"/>
                  <a:pt x="5570004" y="0"/>
                </a:cubicBezTo>
                <a:cubicBezTo>
                  <a:pt x="5767150" y="0"/>
                  <a:pt x="5926969" y="159819"/>
                  <a:pt x="5926969" y="356965"/>
                </a:cubicBezTo>
                <a:close/>
              </a:path>
            </a:pathLst>
          </a:custGeom>
          <a:solidFill>
            <a:srgbClr val="0946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1EEC1B5-0BE7-4DA7-A023-7E5EEC8D98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078C5E40-576D-E80A-34A3-910664237C7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1440F41A-AAD0-DF18-6E88-566BF1E7CD2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94" t="43871" r="21794" b="43871"/>
          <a:stretch/>
        </p:blipFill>
        <p:spPr>
          <a:xfrm>
            <a:off x="10185399" y="411163"/>
            <a:ext cx="1851933" cy="284554"/>
          </a:xfrm>
          <a:prstGeom prst="rect">
            <a:avLst/>
          </a:prstGeom>
        </p:spPr>
      </p:pic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81792D69-0734-C3BD-12D0-1A45E5B0D1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2900" y="1085850"/>
            <a:ext cx="2276475" cy="2381250"/>
          </a:xfrm>
          <a:prstGeom prst="roundRect">
            <a:avLst>
              <a:gd name="adj" fmla="val 9833"/>
            </a:avLst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2000" b="1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5259D8EF-B9C7-7001-31B1-898C7A8F5D3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9202" y="1085850"/>
            <a:ext cx="2276475" cy="2381250"/>
          </a:xfrm>
          <a:prstGeom prst="roundRect">
            <a:avLst>
              <a:gd name="adj" fmla="val 9833"/>
            </a:avLst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2000" b="1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999D098-1A25-340C-87CD-58EA2576C6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5504" y="1085850"/>
            <a:ext cx="2276475" cy="2381250"/>
          </a:xfrm>
          <a:prstGeom prst="roundRect">
            <a:avLst>
              <a:gd name="adj" fmla="val 9833"/>
            </a:avLst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2000" b="1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50184CC0-CEC8-73FE-3122-030D57D1BA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1806" y="1085850"/>
            <a:ext cx="2276475" cy="2381250"/>
          </a:xfrm>
          <a:prstGeom prst="roundRect">
            <a:avLst>
              <a:gd name="adj" fmla="val 9833"/>
            </a:avLst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2000" b="1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9FFCC66-A3F2-64F9-E9CE-832469AE12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2900" y="3737233"/>
            <a:ext cx="2276475" cy="2381250"/>
          </a:xfrm>
          <a:prstGeom prst="roundRect">
            <a:avLst>
              <a:gd name="adj" fmla="val 9833"/>
            </a:avLst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2000" b="1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4B31882C-7DDA-0C11-66DA-D76E5FE20A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929202" y="3737233"/>
            <a:ext cx="2276475" cy="2381250"/>
          </a:xfrm>
          <a:prstGeom prst="roundRect">
            <a:avLst>
              <a:gd name="adj" fmla="val 9833"/>
            </a:avLst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2000" b="1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BD071696-149D-740F-9435-5E43835685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15504" y="3737233"/>
            <a:ext cx="2276475" cy="2381250"/>
          </a:xfrm>
          <a:prstGeom prst="roundRect">
            <a:avLst>
              <a:gd name="adj" fmla="val 9833"/>
            </a:avLst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2000" b="1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05C9941C-A3FD-C885-7961-37693B1B8F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01806" y="3737233"/>
            <a:ext cx="2276475" cy="2381250"/>
          </a:xfrm>
          <a:prstGeom prst="roundRect">
            <a:avLst>
              <a:gd name="adj" fmla="val 9833"/>
            </a:avLst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2000" b="1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DBF75541-8DE5-3AFD-194D-9781A1F2400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96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DF352F-016C-4F53-A5FD-E4B1D46BF1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130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DF352F-016C-4F53-A5FD-E4B1D46BF1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>
            <a:extLst>
              <a:ext uri="{FF2B5EF4-FFF2-40B4-BE49-F238E27FC236}">
                <a16:creationId xmlns:a16="http://schemas.microsoft.com/office/drawing/2014/main" id="{94DB362C-8FEF-C56C-4040-3EEBFF2E3618}"/>
              </a:ext>
            </a:extLst>
          </p:cNvPr>
          <p:cNvSpPr/>
          <p:nvPr userDrawn="1"/>
        </p:nvSpPr>
        <p:spPr>
          <a:xfrm>
            <a:off x="0" y="4819651"/>
            <a:ext cx="12192000" cy="2038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98A7E63-A791-4929-A853-EF801F834CD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IN" sz="44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DE040F0-D1A6-5C17-7E46-4DE3CDE51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8181" y="3369094"/>
            <a:ext cx="9665970" cy="1431507"/>
          </a:xfrm>
        </p:spPr>
        <p:txBody>
          <a:bodyPr vert="horz" anchor="t"/>
          <a:lstStyle>
            <a:lvl1pPr algn="l">
              <a:lnSpc>
                <a:spcPct val="80000"/>
              </a:lnSpc>
              <a:defRPr sz="6000" b="1" cap="none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15" name="Picture 14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0CA06E0E-C832-0B9C-AD50-EDE1F7C2742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94" t="43871" r="21794" b="43871"/>
          <a:stretch/>
        </p:blipFill>
        <p:spPr>
          <a:xfrm>
            <a:off x="618755" y="2535688"/>
            <a:ext cx="2714995" cy="417165"/>
          </a:xfrm>
          <a:prstGeom prst="rect">
            <a:avLst/>
          </a:prstGeom>
        </p:spPr>
      </p:pic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0E19D73C-7412-6EBB-744F-A4822EE6EA22}"/>
              </a:ext>
            </a:extLst>
          </p:cNvPr>
          <p:cNvSpPr/>
          <p:nvPr userDrawn="1"/>
        </p:nvSpPr>
        <p:spPr>
          <a:xfrm rot="13500000">
            <a:off x="7563889" y="-817843"/>
            <a:ext cx="5926969" cy="4088630"/>
          </a:xfrm>
          <a:custGeom>
            <a:avLst/>
            <a:gdLst>
              <a:gd name="connsiteX0" fmla="*/ 713929 w 5926969"/>
              <a:gd name="connsiteY0" fmla="*/ 2148897 h 4088630"/>
              <a:gd name="connsiteX1" fmla="*/ 0 w 5926969"/>
              <a:gd name="connsiteY1" fmla="*/ 1434968 h 4088630"/>
              <a:gd name="connsiteX2" fmla="*/ 0 w 5926969"/>
              <a:gd name="connsiteY2" fmla="*/ 370436 h 4088630"/>
              <a:gd name="connsiteX3" fmla="*/ 356965 w 5926969"/>
              <a:gd name="connsiteY3" fmla="*/ 13471 h 4088630"/>
              <a:gd name="connsiteX4" fmla="*/ 713930 w 5926969"/>
              <a:gd name="connsiteY4" fmla="*/ 370436 h 4088630"/>
              <a:gd name="connsiteX5" fmla="*/ 3361289 w 5926969"/>
              <a:gd name="connsiteY5" fmla="*/ 3381003 h 4088630"/>
              <a:gd name="connsiteX6" fmla="*/ 2653662 w 5926969"/>
              <a:gd name="connsiteY6" fmla="*/ 4088630 h 4088630"/>
              <a:gd name="connsiteX7" fmla="*/ 2647359 w 5926969"/>
              <a:gd name="connsiteY7" fmla="*/ 4082327 h 4088630"/>
              <a:gd name="connsiteX8" fmla="*/ 2647360 w 5926969"/>
              <a:gd name="connsiteY8" fmla="*/ 438588 h 4088630"/>
              <a:gd name="connsiteX9" fmla="*/ 3004325 w 5926969"/>
              <a:gd name="connsiteY9" fmla="*/ 81623 h 4088630"/>
              <a:gd name="connsiteX10" fmla="*/ 3361290 w 5926969"/>
              <a:gd name="connsiteY10" fmla="*/ 438588 h 4088630"/>
              <a:gd name="connsiteX11" fmla="*/ 5926969 w 5926969"/>
              <a:gd name="connsiteY11" fmla="*/ 815324 h 4088630"/>
              <a:gd name="connsiteX12" fmla="*/ 5213039 w 5926969"/>
              <a:gd name="connsiteY12" fmla="*/ 1529253 h 4088630"/>
              <a:gd name="connsiteX13" fmla="*/ 5213039 w 5926969"/>
              <a:gd name="connsiteY13" fmla="*/ 356965 h 4088630"/>
              <a:gd name="connsiteX14" fmla="*/ 5570004 w 5926969"/>
              <a:gd name="connsiteY14" fmla="*/ 0 h 4088630"/>
              <a:gd name="connsiteX15" fmla="*/ 5926969 w 5926969"/>
              <a:gd name="connsiteY15" fmla="*/ 356965 h 4088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926969" h="4088630">
                <a:moveTo>
                  <a:pt x="713929" y="2148897"/>
                </a:moveTo>
                <a:lnTo>
                  <a:pt x="0" y="1434968"/>
                </a:lnTo>
                <a:lnTo>
                  <a:pt x="0" y="370436"/>
                </a:lnTo>
                <a:cubicBezTo>
                  <a:pt x="0" y="173290"/>
                  <a:pt x="159819" y="13471"/>
                  <a:pt x="356965" y="13471"/>
                </a:cubicBezTo>
                <a:cubicBezTo>
                  <a:pt x="554111" y="13471"/>
                  <a:pt x="713930" y="173290"/>
                  <a:pt x="713930" y="370436"/>
                </a:cubicBezTo>
                <a:close/>
                <a:moveTo>
                  <a:pt x="3361289" y="3381003"/>
                </a:moveTo>
                <a:lnTo>
                  <a:pt x="2653662" y="4088630"/>
                </a:lnTo>
                <a:lnTo>
                  <a:pt x="2647359" y="4082327"/>
                </a:lnTo>
                <a:lnTo>
                  <a:pt x="2647360" y="438588"/>
                </a:lnTo>
                <a:cubicBezTo>
                  <a:pt x="2647359" y="241442"/>
                  <a:pt x="2807178" y="81624"/>
                  <a:pt x="3004325" y="81623"/>
                </a:cubicBezTo>
                <a:cubicBezTo>
                  <a:pt x="3201470" y="81623"/>
                  <a:pt x="3361289" y="241442"/>
                  <a:pt x="3361290" y="438588"/>
                </a:cubicBezTo>
                <a:close/>
                <a:moveTo>
                  <a:pt x="5926969" y="815324"/>
                </a:moveTo>
                <a:lnTo>
                  <a:pt x="5213039" y="1529253"/>
                </a:lnTo>
                <a:lnTo>
                  <a:pt x="5213039" y="356965"/>
                </a:lnTo>
                <a:cubicBezTo>
                  <a:pt x="5213039" y="159819"/>
                  <a:pt x="5372858" y="0"/>
                  <a:pt x="5570004" y="0"/>
                </a:cubicBezTo>
                <a:cubicBezTo>
                  <a:pt x="5767150" y="0"/>
                  <a:pt x="5926969" y="159819"/>
                  <a:pt x="5926969" y="356965"/>
                </a:cubicBezTo>
                <a:close/>
              </a:path>
            </a:pathLst>
          </a:custGeom>
          <a:solidFill>
            <a:srgbClr val="0946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659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_1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A8CF49-85F4-4B1B-883C-BE3628555B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6006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4A8CF49-85F4-4B1B-883C-BE3628555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ECA21E8-4A10-D453-B8DB-4B238B8DA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spAutoFit/>
          </a:bodyPr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1EEC1B5-0BE7-4DA7-A023-7E5EEC8D98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078C5E40-576D-E80A-34A3-910664237C7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1440F41A-AAD0-DF18-6E88-566BF1E7CD2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94" t="43871" r="21794" b="43871"/>
          <a:stretch/>
        </p:blipFill>
        <p:spPr>
          <a:xfrm>
            <a:off x="10185399" y="411163"/>
            <a:ext cx="1851933" cy="28455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A26130A-D996-119D-9DEB-F93749353C68}"/>
              </a:ext>
            </a:extLst>
          </p:cNvPr>
          <p:cNvSpPr/>
          <p:nvPr userDrawn="1"/>
        </p:nvSpPr>
        <p:spPr>
          <a:xfrm>
            <a:off x="857250" y="1733550"/>
            <a:ext cx="2457977" cy="10520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636715-E502-2B36-025D-1894536C2691}"/>
              </a:ext>
            </a:extLst>
          </p:cNvPr>
          <p:cNvSpPr/>
          <p:nvPr userDrawn="1"/>
        </p:nvSpPr>
        <p:spPr>
          <a:xfrm>
            <a:off x="3524074" y="1733550"/>
            <a:ext cx="2457977" cy="10520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F030BD2-2ECC-313D-30EE-7E3D5631AF99}"/>
              </a:ext>
            </a:extLst>
          </p:cNvPr>
          <p:cNvSpPr/>
          <p:nvPr userDrawn="1"/>
        </p:nvSpPr>
        <p:spPr>
          <a:xfrm>
            <a:off x="6190899" y="1733550"/>
            <a:ext cx="2457977" cy="10520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58330F-5228-17FD-EDBA-6DC1FE1204E7}"/>
              </a:ext>
            </a:extLst>
          </p:cNvPr>
          <p:cNvSpPr/>
          <p:nvPr userDrawn="1"/>
        </p:nvSpPr>
        <p:spPr>
          <a:xfrm>
            <a:off x="8857723" y="1733550"/>
            <a:ext cx="2457977" cy="10520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ECF32CD-FC2D-7661-5C16-4102999FE0E5}"/>
              </a:ext>
            </a:extLst>
          </p:cNvPr>
          <p:cNvSpPr/>
          <p:nvPr userDrawn="1"/>
        </p:nvSpPr>
        <p:spPr>
          <a:xfrm>
            <a:off x="857250" y="2970293"/>
            <a:ext cx="2457977" cy="10520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181687C-14F2-43BF-BA4C-5AEE9AAFB6A4}"/>
              </a:ext>
            </a:extLst>
          </p:cNvPr>
          <p:cNvSpPr/>
          <p:nvPr userDrawn="1"/>
        </p:nvSpPr>
        <p:spPr>
          <a:xfrm>
            <a:off x="3524074" y="2970293"/>
            <a:ext cx="2457977" cy="10520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A45678A-2EFB-7CBF-3010-4DF72295DF44}"/>
              </a:ext>
            </a:extLst>
          </p:cNvPr>
          <p:cNvSpPr/>
          <p:nvPr userDrawn="1"/>
        </p:nvSpPr>
        <p:spPr>
          <a:xfrm>
            <a:off x="6190899" y="2970293"/>
            <a:ext cx="2457977" cy="10520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85F0880-5E22-7F63-22C2-3B9C577B6BA4}"/>
              </a:ext>
            </a:extLst>
          </p:cNvPr>
          <p:cNvSpPr/>
          <p:nvPr userDrawn="1"/>
        </p:nvSpPr>
        <p:spPr>
          <a:xfrm>
            <a:off x="8857723" y="2970293"/>
            <a:ext cx="2457977" cy="10520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B6F095D-2D8F-C7EB-AE40-AEDC5894AC08}"/>
              </a:ext>
            </a:extLst>
          </p:cNvPr>
          <p:cNvSpPr/>
          <p:nvPr userDrawn="1"/>
        </p:nvSpPr>
        <p:spPr>
          <a:xfrm>
            <a:off x="857250" y="4207037"/>
            <a:ext cx="2457977" cy="10520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2391369-4B97-E979-0328-FE81A40F1D39}"/>
              </a:ext>
            </a:extLst>
          </p:cNvPr>
          <p:cNvSpPr/>
          <p:nvPr userDrawn="1"/>
        </p:nvSpPr>
        <p:spPr>
          <a:xfrm>
            <a:off x="3524074" y="4207037"/>
            <a:ext cx="2457977" cy="10520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75C5876-EA6D-0BF0-2198-C0DF7B1D0B1A}"/>
              </a:ext>
            </a:extLst>
          </p:cNvPr>
          <p:cNvSpPr/>
          <p:nvPr userDrawn="1"/>
        </p:nvSpPr>
        <p:spPr>
          <a:xfrm>
            <a:off x="6190899" y="4207037"/>
            <a:ext cx="2457977" cy="10520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3A48349-F403-011C-60C5-B2292EA6521C}"/>
              </a:ext>
            </a:extLst>
          </p:cNvPr>
          <p:cNvSpPr/>
          <p:nvPr userDrawn="1"/>
        </p:nvSpPr>
        <p:spPr>
          <a:xfrm>
            <a:off x="8857723" y="4207037"/>
            <a:ext cx="2457977" cy="10520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3" name="Slide Number Placeholder 32">
            <a:extLst>
              <a:ext uri="{FF2B5EF4-FFF2-40B4-BE49-F238E27FC236}">
                <a16:creationId xmlns:a16="http://schemas.microsoft.com/office/drawing/2014/main" id="{60B46F24-24C0-03A5-19F2-5ABBF828619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764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59A1D665-F8C0-734A-3CEB-E1E05C81EF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5300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A1D665-F8C0-734A-3CEB-E1E05C81EF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637B08-6825-12A1-C821-8778220A72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A34F16-5943-4E54-3304-D215ED03AA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B87CC5-4F68-E8CD-FD42-B173770553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2900" y="1809750"/>
            <a:ext cx="1752600" cy="762000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F38ACC-151D-5838-5BDF-CC1E2C30F0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2900" y="2762250"/>
            <a:ext cx="1752600" cy="204085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>
            <a:sp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98E03A6-E35F-3F5A-AD0A-FE07D2B69F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93620" y="2762250"/>
            <a:ext cx="1752600" cy="204085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>
            <a:sp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60211D66-CC9C-947E-850D-DDD2096525B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44340" y="2762250"/>
            <a:ext cx="1752600" cy="204085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>
            <a:sp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DCFCF0A-4F88-90DD-9013-2585BE3FA2B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5060" y="2762250"/>
            <a:ext cx="1752600" cy="204085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>
            <a:sp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B0F0C75-7C3B-4AA6-A0F9-6BCE1DC479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45780" y="2762250"/>
            <a:ext cx="1752600" cy="204085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>
            <a:sp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4EB9176E-3AFB-F3AB-8EB7-A180944CE5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096500" y="2762250"/>
            <a:ext cx="1752600" cy="204085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>
            <a:sp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FAABA11-F917-24C6-0E96-DE9EC54A77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93620" y="1809750"/>
            <a:ext cx="1752600" cy="762000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</a:t>
            </a:r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A350378-97A4-65C5-EAE7-5819DD1F9D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44340" y="1809750"/>
            <a:ext cx="1752600" cy="762000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</a:t>
            </a:r>
            <a:endParaRPr lang="en-GB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2A5F588-1740-F6CA-39AC-9DCF662EFC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5060" y="1809750"/>
            <a:ext cx="1752600" cy="762000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</a:t>
            </a:r>
            <a:endParaRPr lang="en-GB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263158BE-EDE3-D064-98BB-7EFFAB41B3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45780" y="1809750"/>
            <a:ext cx="1752600" cy="762000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</a:t>
            </a:r>
            <a:endParaRPr lang="en-GB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69C4469-8CCB-391A-D624-DFCE61D5ED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096500" y="1809750"/>
            <a:ext cx="1752600" cy="762000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</a:t>
            </a:r>
            <a:endParaRPr lang="en-GB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B7F11CD-5D03-87CC-4419-0A3600A19D50}"/>
              </a:ext>
            </a:extLst>
          </p:cNvPr>
          <p:cNvSpPr/>
          <p:nvPr userDrawn="1"/>
        </p:nvSpPr>
        <p:spPr>
          <a:xfrm>
            <a:off x="838200" y="2605088"/>
            <a:ext cx="762000" cy="5715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B2B5B7A4-4929-0829-A623-9C0C781812AA}"/>
              </a:ext>
            </a:extLst>
          </p:cNvPr>
          <p:cNvSpPr/>
          <p:nvPr userDrawn="1"/>
        </p:nvSpPr>
        <p:spPr>
          <a:xfrm>
            <a:off x="2788920" y="2605088"/>
            <a:ext cx="762000" cy="5715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B6D4A03A-5A82-D1F2-B1D5-1A1F2AC82C57}"/>
              </a:ext>
            </a:extLst>
          </p:cNvPr>
          <p:cNvSpPr/>
          <p:nvPr userDrawn="1"/>
        </p:nvSpPr>
        <p:spPr>
          <a:xfrm>
            <a:off x="4739640" y="2605088"/>
            <a:ext cx="762000" cy="5715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F4C5B436-2ECC-1394-A576-54260117BBC5}"/>
              </a:ext>
            </a:extLst>
          </p:cNvPr>
          <p:cNvSpPr/>
          <p:nvPr userDrawn="1"/>
        </p:nvSpPr>
        <p:spPr>
          <a:xfrm>
            <a:off x="6690360" y="2605088"/>
            <a:ext cx="762000" cy="5715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18969EC4-4392-222D-A04E-034E3B47D0CD}"/>
              </a:ext>
            </a:extLst>
          </p:cNvPr>
          <p:cNvSpPr/>
          <p:nvPr userDrawn="1"/>
        </p:nvSpPr>
        <p:spPr>
          <a:xfrm>
            <a:off x="8641080" y="2605088"/>
            <a:ext cx="762000" cy="5715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0717E13-B083-8DA7-0BBC-28C87DA4D97C}"/>
              </a:ext>
            </a:extLst>
          </p:cNvPr>
          <p:cNvSpPr/>
          <p:nvPr userDrawn="1"/>
        </p:nvSpPr>
        <p:spPr>
          <a:xfrm>
            <a:off x="10591800" y="2605088"/>
            <a:ext cx="762000" cy="5715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AC84FD24-2B85-2223-EC89-CBD54501A08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626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613D5506-0A98-234C-D07C-67E08CBA22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1876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3D5506-0A98-234C-D07C-67E08CBA2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637B08-6825-12A1-C821-8778220A72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A34F16-5943-4E54-3304-D215ED03AA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B87CC5-4F68-E8CD-FD42-B173770553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2900" y="1100137"/>
            <a:ext cx="1752600" cy="542925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F38ACC-151D-5838-5BDF-CC1E2C30F0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2900" y="1643063"/>
            <a:ext cx="1752600" cy="1805226"/>
          </a:xfrm>
          <a:prstGeom prst="round2SameRect">
            <a:avLst>
              <a:gd name="adj1" fmla="val 0"/>
              <a:gd name="adj2" fmla="val 10000"/>
            </a:avLst>
          </a:prstGeom>
          <a:ln>
            <a:solidFill>
              <a:schemeClr val="bg1">
                <a:lumMod val="75000"/>
              </a:schemeClr>
            </a:solidFill>
          </a:ln>
        </p:spPr>
        <p:txBody>
          <a:bodyPr tIns="91440">
            <a:sp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FAABA11-F917-24C6-0E96-DE9EC54A77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93620" y="1100137"/>
            <a:ext cx="1752600" cy="542925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</a:t>
            </a:r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A350378-97A4-65C5-EAE7-5819DD1F9D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44340" y="1100137"/>
            <a:ext cx="1752600" cy="542925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</a:t>
            </a:r>
            <a:endParaRPr lang="en-GB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2A5F588-1740-F6CA-39AC-9DCF662EFC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5060" y="1100137"/>
            <a:ext cx="1752600" cy="542925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</a:t>
            </a:r>
            <a:endParaRPr lang="en-GB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263158BE-EDE3-D064-98BB-7EFFAB41B3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45780" y="1100137"/>
            <a:ext cx="1752600" cy="542925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</a:t>
            </a:r>
            <a:endParaRPr lang="en-GB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69C4469-8CCB-391A-D624-DFCE61D5ED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096500" y="1100137"/>
            <a:ext cx="1752600" cy="542925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734D1012-B59A-7526-559F-26FF2932C72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293620" y="1643063"/>
            <a:ext cx="1752600" cy="1805226"/>
          </a:xfrm>
          <a:prstGeom prst="round2SameRect">
            <a:avLst>
              <a:gd name="adj1" fmla="val 0"/>
              <a:gd name="adj2" fmla="val 10000"/>
            </a:avLst>
          </a:prstGeom>
          <a:ln>
            <a:solidFill>
              <a:schemeClr val="bg1">
                <a:lumMod val="75000"/>
              </a:schemeClr>
            </a:solidFill>
          </a:ln>
        </p:spPr>
        <p:txBody>
          <a:bodyPr tIns="91440">
            <a:sp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867AE994-3550-D2F9-79DD-62B031F2A38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44340" y="1643063"/>
            <a:ext cx="1752600" cy="1805226"/>
          </a:xfrm>
          <a:prstGeom prst="round2SameRect">
            <a:avLst>
              <a:gd name="adj1" fmla="val 0"/>
              <a:gd name="adj2" fmla="val 10000"/>
            </a:avLst>
          </a:prstGeom>
          <a:ln>
            <a:solidFill>
              <a:schemeClr val="bg1">
                <a:lumMod val="75000"/>
              </a:schemeClr>
            </a:solidFill>
          </a:ln>
        </p:spPr>
        <p:txBody>
          <a:bodyPr tIns="91440">
            <a:sp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32974411-A0A0-565E-2E93-8D7AD0BD52A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95060" y="1643063"/>
            <a:ext cx="1752600" cy="1805226"/>
          </a:xfrm>
          <a:prstGeom prst="round2SameRect">
            <a:avLst>
              <a:gd name="adj1" fmla="val 0"/>
              <a:gd name="adj2" fmla="val 10000"/>
            </a:avLst>
          </a:prstGeom>
          <a:ln>
            <a:solidFill>
              <a:schemeClr val="bg1">
                <a:lumMod val="75000"/>
              </a:schemeClr>
            </a:solidFill>
          </a:ln>
        </p:spPr>
        <p:txBody>
          <a:bodyPr tIns="91440">
            <a:sp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1F8A252-F41E-DB10-BD88-683A48B182A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45780" y="1643063"/>
            <a:ext cx="1752600" cy="1805226"/>
          </a:xfrm>
          <a:prstGeom prst="round2SameRect">
            <a:avLst>
              <a:gd name="adj1" fmla="val 0"/>
              <a:gd name="adj2" fmla="val 10000"/>
            </a:avLst>
          </a:prstGeom>
          <a:ln>
            <a:solidFill>
              <a:schemeClr val="bg1">
                <a:lumMod val="75000"/>
              </a:schemeClr>
            </a:solidFill>
          </a:ln>
        </p:spPr>
        <p:txBody>
          <a:bodyPr tIns="91440">
            <a:sp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D9DC78F4-BD03-1C04-267F-3B461A7E849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093642" y="1643063"/>
            <a:ext cx="1752600" cy="1805226"/>
          </a:xfrm>
          <a:prstGeom prst="round2SameRect">
            <a:avLst>
              <a:gd name="adj1" fmla="val 0"/>
              <a:gd name="adj2" fmla="val 10000"/>
            </a:avLst>
          </a:prstGeom>
          <a:ln>
            <a:solidFill>
              <a:schemeClr val="bg1">
                <a:lumMod val="75000"/>
              </a:schemeClr>
            </a:solidFill>
          </a:ln>
        </p:spPr>
        <p:txBody>
          <a:bodyPr tIns="91440">
            <a:sp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A0643904-C0D7-E3B5-EB81-CA6C69F00D4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2900" y="3671887"/>
            <a:ext cx="1752600" cy="542925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</a:t>
            </a:r>
            <a:endParaRPr lang="en-GB" dirty="0"/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81E6FD0-6BA7-FC3C-BBC6-61CA6262339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2900" y="4214813"/>
            <a:ext cx="1752600" cy="1805226"/>
          </a:xfrm>
          <a:prstGeom prst="round2SameRect">
            <a:avLst>
              <a:gd name="adj1" fmla="val 0"/>
              <a:gd name="adj2" fmla="val 10000"/>
            </a:avLst>
          </a:prstGeom>
          <a:ln>
            <a:solidFill>
              <a:schemeClr val="bg1">
                <a:lumMod val="75000"/>
              </a:schemeClr>
            </a:solidFill>
          </a:ln>
        </p:spPr>
        <p:txBody>
          <a:bodyPr tIns="91440">
            <a:sp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DD164FFF-3AC3-004C-3505-927A03E8E54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93620" y="3671887"/>
            <a:ext cx="1752600" cy="542925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</a:t>
            </a:r>
            <a:endParaRPr lang="en-GB" dirty="0"/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92C179DF-DF04-0CA0-31E5-43C1842FB04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44340" y="3671887"/>
            <a:ext cx="1752600" cy="542925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</a:t>
            </a:r>
            <a:endParaRPr lang="en-GB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4107720E-95BF-122E-48EB-A007B3267C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95060" y="3671887"/>
            <a:ext cx="1752600" cy="542925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</a:t>
            </a:r>
            <a:endParaRPr lang="en-GB" dirty="0"/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6E73E47E-99ED-8F0D-3279-A7FB978CDF9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45780" y="3671887"/>
            <a:ext cx="1752600" cy="542925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</a:t>
            </a:r>
            <a:endParaRPr lang="en-GB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A67EB-2C00-AFBE-707F-4FFAABD6B06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096500" y="3671887"/>
            <a:ext cx="1752600" cy="542925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</a:t>
            </a:r>
            <a:endParaRPr lang="en-GB" dirty="0"/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3B18609D-A937-C0D7-5996-15E96D20A96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293620" y="4214813"/>
            <a:ext cx="1752600" cy="1805226"/>
          </a:xfrm>
          <a:prstGeom prst="round2SameRect">
            <a:avLst>
              <a:gd name="adj1" fmla="val 0"/>
              <a:gd name="adj2" fmla="val 10000"/>
            </a:avLst>
          </a:prstGeom>
          <a:ln>
            <a:solidFill>
              <a:schemeClr val="bg1">
                <a:lumMod val="75000"/>
              </a:schemeClr>
            </a:solidFill>
          </a:ln>
        </p:spPr>
        <p:txBody>
          <a:bodyPr tIns="91440">
            <a:sp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8" name="Text Placeholder 8">
            <a:extLst>
              <a:ext uri="{FF2B5EF4-FFF2-40B4-BE49-F238E27FC236}">
                <a16:creationId xmlns:a16="http://schemas.microsoft.com/office/drawing/2014/main" id="{09F635B3-4CF9-C87A-4684-86C09F8897F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244340" y="4214813"/>
            <a:ext cx="1752600" cy="1805226"/>
          </a:xfrm>
          <a:prstGeom prst="round2SameRect">
            <a:avLst>
              <a:gd name="adj1" fmla="val 0"/>
              <a:gd name="adj2" fmla="val 10000"/>
            </a:avLst>
          </a:prstGeom>
          <a:ln>
            <a:solidFill>
              <a:schemeClr val="bg1">
                <a:lumMod val="75000"/>
              </a:schemeClr>
            </a:solidFill>
          </a:ln>
        </p:spPr>
        <p:txBody>
          <a:bodyPr tIns="91440">
            <a:sp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9" name="Text Placeholder 8">
            <a:extLst>
              <a:ext uri="{FF2B5EF4-FFF2-40B4-BE49-F238E27FC236}">
                <a16:creationId xmlns:a16="http://schemas.microsoft.com/office/drawing/2014/main" id="{CB3AD8F9-B5B9-7753-3CE0-2973F2EB014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195060" y="4214813"/>
            <a:ext cx="1752600" cy="1805226"/>
          </a:xfrm>
          <a:prstGeom prst="round2SameRect">
            <a:avLst>
              <a:gd name="adj1" fmla="val 0"/>
              <a:gd name="adj2" fmla="val 10000"/>
            </a:avLst>
          </a:prstGeom>
          <a:ln>
            <a:solidFill>
              <a:schemeClr val="bg1">
                <a:lumMod val="75000"/>
              </a:schemeClr>
            </a:solidFill>
          </a:ln>
        </p:spPr>
        <p:txBody>
          <a:bodyPr tIns="91440">
            <a:sp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0" name="Text Placeholder 8">
            <a:extLst>
              <a:ext uri="{FF2B5EF4-FFF2-40B4-BE49-F238E27FC236}">
                <a16:creationId xmlns:a16="http://schemas.microsoft.com/office/drawing/2014/main" id="{DE0CA8B6-6F87-114C-5651-B5B2A84546E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145780" y="4214813"/>
            <a:ext cx="1752600" cy="1805226"/>
          </a:xfrm>
          <a:prstGeom prst="round2SameRect">
            <a:avLst>
              <a:gd name="adj1" fmla="val 0"/>
              <a:gd name="adj2" fmla="val 10000"/>
            </a:avLst>
          </a:prstGeom>
          <a:ln>
            <a:solidFill>
              <a:schemeClr val="bg1">
                <a:lumMod val="75000"/>
              </a:schemeClr>
            </a:solidFill>
          </a:ln>
        </p:spPr>
        <p:txBody>
          <a:bodyPr tIns="91440">
            <a:sp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BE7FA9AE-5B59-F595-E765-EDF2B3BCC04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093642" y="4214813"/>
            <a:ext cx="1752600" cy="1805226"/>
          </a:xfrm>
          <a:prstGeom prst="round2SameRect">
            <a:avLst>
              <a:gd name="adj1" fmla="val 0"/>
              <a:gd name="adj2" fmla="val 10000"/>
            </a:avLst>
          </a:prstGeom>
          <a:ln>
            <a:solidFill>
              <a:schemeClr val="bg1">
                <a:lumMod val="75000"/>
              </a:schemeClr>
            </a:solidFill>
          </a:ln>
        </p:spPr>
        <p:txBody>
          <a:bodyPr tIns="91440">
            <a:sp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2" name="Slide Number Placeholder 51">
            <a:extLst>
              <a:ext uri="{FF2B5EF4-FFF2-40B4-BE49-F238E27FC236}">
                <a16:creationId xmlns:a16="http://schemas.microsoft.com/office/drawing/2014/main" id="{A72505CB-DCDD-E8DB-79EA-8D2AD33C7CFA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453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_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0E60299-1CAF-C7A2-B5AB-B705B71009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2913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E60299-1CAF-C7A2-B5AB-B705B71009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690;p36">
            <a:extLst>
              <a:ext uri="{FF2B5EF4-FFF2-40B4-BE49-F238E27FC236}">
                <a16:creationId xmlns:a16="http://schemas.microsoft.com/office/drawing/2014/main" id="{C8576EB7-A601-03F6-DAFF-88449D1B6ED4}"/>
              </a:ext>
            </a:extLst>
          </p:cNvPr>
          <p:cNvSpPr/>
          <p:nvPr userDrawn="1"/>
        </p:nvSpPr>
        <p:spPr>
          <a:xfrm>
            <a:off x="1381981" y="3854369"/>
            <a:ext cx="5914663" cy="300363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6" name="Google Shape;691;p36">
            <a:extLst>
              <a:ext uri="{FF2B5EF4-FFF2-40B4-BE49-F238E27FC236}">
                <a16:creationId xmlns:a16="http://schemas.microsoft.com/office/drawing/2014/main" id="{8048D725-04E2-1AE4-8ECD-AEEFBED501B4}"/>
              </a:ext>
            </a:extLst>
          </p:cNvPr>
          <p:cNvSpPr/>
          <p:nvPr userDrawn="1"/>
        </p:nvSpPr>
        <p:spPr>
          <a:xfrm>
            <a:off x="1381981" y="0"/>
            <a:ext cx="5914663" cy="38543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0" name="Google Shape;113;p75">
            <a:extLst>
              <a:ext uri="{FF2B5EF4-FFF2-40B4-BE49-F238E27FC236}">
                <a16:creationId xmlns:a16="http://schemas.microsoft.com/office/drawing/2014/main" id="{A636204E-4A22-F078-178A-C72C7EB8EF79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1493135" y="1800372"/>
            <a:ext cx="4745620" cy="3003631"/>
          </a:xfrm>
          <a:prstGeom prst="rect">
            <a:avLst/>
          </a:prstGeom>
          <a:solidFill>
            <a:schemeClr val="lt1"/>
          </a:solidFill>
          <a:ln>
            <a:noFill/>
          </a:ln>
        </p:spPr>
      </p:sp>
      <p:pic>
        <p:nvPicPr>
          <p:cNvPr id="7" name="Google Shape;697;p36">
            <a:extLst>
              <a:ext uri="{FF2B5EF4-FFF2-40B4-BE49-F238E27FC236}">
                <a16:creationId xmlns:a16="http://schemas.microsoft.com/office/drawing/2014/main" id="{071760AD-5D3E-2A12-998F-1E0A37EB7A56}"/>
              </a:ext>
            </a:extLst>
          </p:cNvPr>
          <p:cNvPicPr preferRelativeResize="0"/>
          <p:nvPr userDrawn="1"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53"/>
          <a:stretch/>
        </p:blipFill>
        <p:spPr>
          <a:xfrm>
            <a:off x="705321" y="1646484"/>
            <a:ext cx="6230146" cy="356503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6686BE-9949-37F4-3650-8DAB6D698E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2658" y="1435346"/>
            <a:ext cx="3717818" cy="926854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9A650-9CBF-DE28-34B9-6B2CF3506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702657" y="6296915"/>
            <a:ext cx="3717818" cy="21818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5DF22BC-474F-8D09-3DDE-A85692A63C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702550" y="2495734"/>
            <a:ext cx="3717925" cy="135863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A00107DC-F195-47D7-DFC1-759DB904699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702551" y="3860638"/>
            <a:ext cx="1885950" cy="419261"/>
          </a:xfrm>
          <a:solidFill>
            <a:schemeClr val="accent1"/>
          </a:solidFill>
        </p:spPr>
        <p:txBody>
          <a:bodyPr lIns="91440" tIns="91440" rIns="91440" bIns="91440"/>
          <a:lstStyle>
            <a:lvl1pPr marL="0" indent="0" algn="ctr">
              <a:buNone/>
              <a:defRPr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7CA96AD5-A242-DF73-5A66-D6D3F2F54C04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11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_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0E60299-1CAF-C7A2-B5AB-B705B71009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5440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E60299-1CAF-C7A2-B5AB-B705B71009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6686BE-9949-37F4-3650-8DAB6D698E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1435346"/>
            <a:ext cx="3717818" cy="926854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9A650-9CBF-DE28-34B9-6B2CF3506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42900" y="6296915"/>
            <a:ext cx="3717818" cy="21818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5DF22BC-474F-8D09-3DDE-A85692A63C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2793" y="2495734"/>
            <a:ext cx="3717925" cy="135863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A00107DC-F195-47D7-DFC1-759DB904699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794" y="3860638"/>
            <a:ext cx="1733656" cy="419261"/>
          </a:xfrm>
          <a:solidFill>
            <a:schemeClr val="accent1"/>
          </a:solidFill>
        </p:spPr>
        <p:txBody>
          <a:bodyPr lIns="91440" tIns="91440" rIns="91440" bIns="91440"/>
          <a:lstStyle>
            <a:lvl1pPr marL="0" indent="0" algn="ctr">
              <a:buNone/>
              <a:defRPr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Google Shape;702;p37">
            <a:extLst>
              <a:ext uri="{FF2B5EF4-FFF2-40B4-BE49-F238E27FC236}">
                <a16:creationId xmlns:a16="http://schemas.microsoft.com/office/drawing/2014/main" id="{D7666FB0-2DD9-9978-F7BC-B9A82A896131}"/>
              </a:ext>
            </a:extLst>
          </p:cNvPr>
          <p:cNvSpPr/>
          <p:nvPr userDrawn="1"/>
        </p:nvSpPr>
        <p:spPr>
          <a:xfrm>
            <a:off x="6761271" y="1351"/>
            <a:ext cx="808572" cy="68566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Google Shape;703;p37">
            <a:extLst>
              <a:ext uri="{FF2B5EF4-FFF2-40B4-BE49-F238E27FC236}">
                <a16:creationId xmlns:a16="http://schemas.microsoft.com/office/drawing/2014/main" id="{2F45945B-D9BA-E2FE-B5AC-FFFF5B46C17A}"/>
              </a:ext>
            </a:extLst>
          </p:cNvPr>
          <p:cNvSpPr/>
          <p:nvPr userDrawn="1"/>
        </p:nvSpPr>
        <p:spPr>
          <a:xfrm>
            <a:off x="7569843" y="1"/>
            <a:ext cx="462215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Google Shape;704;p37">
            <a:extLst>
              <a:ext uri="{FF2B5EF4-FFF2-40B4-BE49-F238E27FC236}">
                <a16:creationId xmlns:a16="http://schemas.microsoft.com/office/drawing/2014/main" id="{E8C29397-6070-9095-A5F0-0614DC54D4B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9829800" y="952500"/>
            <a:ext cx="2389402" cy="525153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Google Shape;705;p37">
            <a:extLst>
              <a:ext uri="{FF2B5EF4-FFF2-40B4-BE49-F238E27FC236}">
                <a16:creationId xmlns:a16="http://schemas.microsoft.com/office/drawing/2014/main" id="{CDB5BD46-81EF-E2B0-DA98-E89BF21E4B22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6449491" y="952500"/>
            <a:ext cx="2601912" cy="525153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2" name="Text Placeholder 15">
            <a:extLst>
              <a:ext uri="{FF2B5EF4-FFF2-40B4-BE49-F238E27FC236}">
                <a16:creationId xmlns:a16="http://schemas.microsoft.com/office/drawing/2014/main" id="{8955419A-E7D2-AA98-0965-0FB2EF13A04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27063" y="3860638"/>
            <a:ext cx="1733656" cy="419261"/>
          </a:xfrm>
          <a:solidFill>
            <a:schemeClr val="accent1"/>
          </a:solidFill>
        </p:spPr>
        <p:txBody>
          <a:bodyPr lIns="91440" tIns="91440" rIns="91440" bIns="91440"/>
          <a:lstStyle>
            <a:lvl1pPr marL="0" indent="0" algn="ctr">
              <a:buNone/>
              <a:defRPr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DBDBA41B-C14A-46CD-1C66-8596686E391C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4" name="Picture 4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015FCF8F-8B1E-1B96-E10C-3C0C5F675DB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94" t="43871" r="21794" b="43871"/>
          <a:stretch/>
        </p:blipFill>
        <p:spPr>
          <a:xfrm>
            <a:off x="10185399" y="411163"/>
            <a:ext cx="1851933" cy="284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111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_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D5A58A7A-F931-9EDD-B7A2-65467D9BA7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9822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A58A7A-F931-9EDD-B7A2-65467D9BA7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0C79933C-F7DF-79D8-A2CC-2E7015DF7EF8}"/>
              </a:ext>
            </a:extLst>
          </p:cNvPr>
          <p:cNvSpPr/>
          <p:nvPr userDrawn="1"/>
        </p:nvSpPr>
        <p:spPr>
          <a:xfrm>
            <a:off x="0" y="0"/>
            <a:ext cx="4063998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4E31991-2F41-C2B0-61AD-25339751E4C5}"/>
              </a:ext>
            </a:extLst>
          </p:cNvPr>
          <p:cNvGrpSpPr/>
          <p:nvPr userDrawn="1"/>
        </p:nvGrpSpPr>
        <p:grpSpPr>
          <a:xfrm>
            <a:off x="-190193" y="2843040"/>
            <a:ext cx="2018993" cy="4357861"/>
            <a:chOff x="-190193" y="2843040"/>
            <a:chExt cx="2018993" cy="4357861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E2406405-C92D-9759-9688-0BADE3507818}"/>
                </a:ext>
              </a:extLst>
            </p:cNvPr>
            <p:cNvSpPr>
              <a:spLocks/>
            </p:cNvSpPr>
            <p:nvPr/>
          </p:nvSpPr>
          <p:spPr>
            <a:xfrm rot="10800000">
              <a:off x="419961" y="2843040"/>
              <a:ext cx="1408839" cy="4357861"/>
            </a:xfrm>
            <a:prstGeom prst="roundRect">
              <a:avLst>
                <a:gd name="adj" fmla="val 50000"/>
              </a:avLst>
            </a:prstGeom>
            <a:gradFill>
              <a:gsLst>
                <a:gs pos="58728">
                  <a:srgbClr val="FFFFFF">
                    <a:alpha val="4000"/>
                  </a:srgbClr>
                </a:gs>
                <a:gs pos="12000">
                  <a:schemeClr val="bg1">
                    <a:alpha val="0"/>
                  </a:schemeClr>
                </a:gs>
                <a:gs pos="100000">
                  <a:schemeClr val="bg1">
                    <a:alpha val="5000"/>
                  </a:schemeClr>
                </a:gs>
              </a:gsLst>
              <a:lin ang="5400000" scaled="1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accent6"/>
                </a:solidFill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05C56253-985E-0883-15F9-A910BE9CBDE5}"/>
                </a:ext>
              </a:extLst>
            </p:cNvPr>
            <p:cNvSpPr>
              <a:spLocks/>
            </p:cNvSpPr>
            <p:nvPr/>
          </p:nvSpPr>
          <p:spPr>
            <a:xfrm rot="10800000">
              <a:off x="-190193" y="4500871"/>
              <a:ext cx="402022" cy="1781225"/>
            </a:xfrm>
            <a:prstGeom prst="roundRect">
              <a:avLst>
                <a:gd name="adj" fmla="val 50000"/>
              </a:avLst>
            </a:prstGeom>
            <a:gradFill>
              <a:gsLst>
                <a:gs pos="58728">
                  <a:srgbClr val="FFFFFF">
                    <a:alpha val="4000"/>
                  </a:srgbClr>
                </a:gs>
                <a:gs pos="12000">
                  <a:schemeClr val="bg1">
                    <a:alpha val="0"/>
                  </a:schemeClr>
                </a:gs>
                <a:gs pos="100000">
                  <a:schemeClr val="bg1">
                    <a:alpha val="5000"/>
                  </a:schemeClr>
                </a:gs>
              </a:gsLst>
              <a:lin ang="5400000" scaled="1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 err="1">
                <a:solidFill>
                  <a:schemeClr val="accent6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14A212D-6F41-9FDA-3DCB-060DF2E75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342901"/>
            <a:ext cx="3454185" cy="42227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022919-BDD0-DE94-9526-CE89B139C9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FD6EF3-FBB9-4989-7129-2955F3B6FB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900" y="1371600"/>
            <a:ext cx="3454186" cy="43815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3A139262-BA5E-A3FB-647D-04C177F74A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355024" y="1371600"/>
            <a:ext cx="7494075" cy="43815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791BF2CA-D96F-5A71-98D5-A018A4D858F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915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DF352F-016C-4F53-A5FD-E4B1D46BF1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213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DF352F-016C-4F53-A5FD-E4B1D46BF1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98A7E63-A791-4929-A853-EF801F834CD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IN" sz="44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7" name="Picture 16" descr="A black background with orange and grey text&#10;&#10;Description automatically generated">
            <a:extLst>
              <a:ext uri="{FF2B5EF4-FFF2-40B4-BE49-F238E27FC236}">
                <a16:creationId xmlns:a16="http://schemas.microsoft.com/office/drawing/2014/main" id="{5E16CC92-105D-279A-E568-E7D473623C5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062" t="45291" r="23062" b="45291"/>
          <a:stretch/>
        </p:blipFill>
        <p:spPr>
          <a:xfrm>
            <a:off x="295503" y="2690377"/>
            <a:ext cx="3356609" cy="414914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956F25F-BA2C-B428-C46D-8EF378D8D4B3}"/>
              </a:ext>
            </a:extLst>
          </p:cNvPr>
          <p:cNvSpPr>
            <a:spLocks/>
          </p:cNvSpPr>
          <p:nvPr userDrawn="1"/>
        </p:nvSpPr>
        <p:spPr>
          <a:xfrm rot="10800000" flipV="1">
            <a:off x="335205" y="-448281"/>
            <a:ext cx="290496" cy="192405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CE56C3D5-E2C6-86E7-A9FF-EB72BD0FC7BB}"/>
              </a:ext>
            </a:extLst>
          </p:cNvPr>
          <p:cNvSpPr>
            <a:spLocks/>
          </p:cNvSpPr>
          <p:nvPr userDrawn="1"/>
        </p:nvSpPr>
        <p:spPr>
          <a:xfrm rot="10800000">
            <a:off x="11228439" y="513745"/>
            <a:ext cx="963561" cy="5961030"/>
          </a:xfrm>
          <a:custGeom>
            <a:avLst/>
            <a:gdLst>
              <a:gd name="connsiteX0" fmla="*/ 0 w 963561"/>
              <a:gd name="connsiteY0" fmla="*/ 5961030 h 5961030"/>
              <a:gd name="connsiteX1" fmla="*/ 0 w 963561"/>
              <a:gd name="connsiteY1" fmla="*/ 0 h 5961030"/>
              <a:gd name="connsiteX2" fmla="*/ 963561 w 963561"/>
              <a:gd name="connsiteY2" fmla="*/ 963561 h 5961030"/>
              <a:gd name="connsiteX3" fmla="*/ 963561 w 963561"/>
              <a:gd name="connsiteY3" fmla="*/ 4997469 h 5961030"/>
              <a:gd name="connsiteX4" fmla="*/ 0 w 963561"/>
              <a:gd name="connsiteY4" fmla="*/ 5961030 h 5961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3561" h="5961030">
                <a:moveTo>
                  <a:pt x="0" y="5961030"/>
                </a:moveTo>
                <a:lnTo>
                  <a:pt x="0" y="0"/>
                </a:lnTo>
                <a:cubicBezTo>
                  <a:pt x="532160" y="0"/>
                  <a:pt x="963561" y="431401"/>
                  <a:pt x="963561" y="963561"/>
                </a:cubicBezTo>
                <a:lnTo>
                  <a:pt x="963561" y="4997469"/>
                </a:lnTo>
                <a:cubicBezTo>
                  <a:pt x="963561" y="5529629"/>
                  <a:pt x="532160" y="5961030"/>
                  <a:pt x="0" y="5961030"/>
                </a:cubicBezTo>
                <a:close/>
              </a:path>
            </a:pathLst>
          </a:custGeom>
          <a:gradFill>
            <a:gsLst>
              <a:gs pos="1600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845EAD22-208D-C3C8-0104-57DB8AC0B849}"/>
              </a:ext>
            </a:extLst>
          </p:cNvPr>
          <p:cNvSpPr>
            <a:spLocks/>
          </p:cNvSpPr>
          <p:nvPr userDrawn="1"/>
        </p:nvSpPr>
        <p:spPr>
          <a:xfrm rot="10800000">
            <a:off x="10393821" y="2781458"/>
            <a:ext cx="549918" cy="2436502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38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8F055995-A281-0C49-4CB2-3AB1000F4626}"/>
              </a:ext>
            </a:extLst>
          </p:cNvPr>
          <p:cNvSpPr>
            <a:spLocks/>
          </p:cNvSpPr>
          <p:nvPr userDrawn="1"/>
        </p:nvSpPr>
        <p:spPr>
          <a:xfrm rot="10800000" flipV="1">
            <a:off x="859911" y="149220"/>
            <a:ext cx="290496" cy="1924050"/>
          </a:xfrm>
          <a:prstGeom prst="roundRect">
            <a:avLst>
              <a:gd name="adj" fmla="val 50000"/>
            </a:avLst>
          </a:prstGeom>
          <a:noFill/>
          <a:ln w="76200">
            <a:gradFill>
              <a:gsLst>
                <a:gs pos="21000">
                  <a:schemeClr val="accent1">
                    <a:alpha val="0"/>
                  </a:schemeClr>
                </a:gs>
                <a:gs pos="100000">
                  <a:schemeClr val="accent1">
                    <a:alpha val="35000"/>
                  </a:schemeClr>
                </a:gs>
              </a:gsLst>
              <a:lin ang="5400000" scaled="0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3AB78F29-FA08-59AA-10B8-9E39228FA4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05" y="3273845"/>
            <a:ext cx="6694245" cy="955256"/>
          </a:xfrm>
        </p:spPr>
        <p:txBody>
          <a:bodyPr vert="horz" anchor="t"/>
          <a:lstStyle>
            <a:lvl1pPr algn="l">
              <a:defRPr sz="7200" b="1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ankyou</a:t>
            </a:r>
          </a:p>
        </p:txBody>
      </p:sp>
    </p:spTree>
    <p:extLst>
      <p:ext uri="{BB962C8B-B14F-4D97-AF65-F5344CB8AC3E}">
        <p14:creationId xmlns:p14="http://schemas.microsoft.com/office/powerpoint/2010/main" val="746000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_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DF352F-016C-4F53-A5FD-E4B1D46BF1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028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DF352F-016C-4F53-A5FD-E4B1D46BF1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98A7E63-A791-4929-A853-EF801F834CD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IN" sz="44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2" name="Picture 1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3756C4BF-7ED4-8C64-246F-9674555A29B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94" t="43871" r="21794" b="43871"/>
          <a:stretch/>
        </p:blipFill>
        <p:spPr>
          <a:xfrm>
            <a:off x="3616377" y="3048000"/>
            <a:ext cx="4959248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115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_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A8CF49-85F4-4B1B-883C-BE3628555B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1799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4A8CF49-85F4-4B1B-883C-BE3628555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1EEC1B5-0BE7-4DA7-A023-7E5EEC8D98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1440F41A-AAD0-DF18-6E88-566BF1E7CD2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94" t="43871" r="21794" b="43871"/>
          <a:stretch/>
        </p:blipFill>
        <p:spPr>
          <a:xfrm>
            <a:off x="10185399" y="411163"/>
            <a:ext cx="1851933" cy="284554"/>
          </a:xfrm>
          <a:prstGeom prst="rect">
            <a:avLst/>
          </a:prstGeom>
        </p:spPr>
      </p:pic>
      <p:sp>
        <p:nvSpPr>
          <p:cNvPr id="2" name="Picture Placeholder 9">
            <a:extLst>
              <a:ext uri="{FF2B5EF4-FFF2-40B4-BE49-F238E27FC236}">
                <a16:creationId xmlns:a16="http://schemas.microsoft.com/office/drawing/2014/main" id="{CDF55979-7C9A-023F-3542-EF5A6280C8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2900" y="5587054"/>
            <a:ext cx="709860" cy="709861"/>
          </a:xfrm>
          <a:prstGeom prst="ellipse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3E0209F5-7E41-ECA7-3C00-0533742D872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21828" y="5586426"/>
            <a:ext cx="7507288" cy="705725"/>
          </a:xfrm>
          <a:noFill/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A3463912-F6E3-1653-66BC-999F059032D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94" t="43871" r="21794" b="43871"/>
          <a:stretch/>
        </p:blipFill>
        <p:spPr>
          <a:xfrm>
            <a:off x="3616377" y="3048000"/>
            <a:ext cx="4959248" cy="762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C1EF0F7-4839-24CC-841F-0F5BAA38DA9C}"/>
              </a:ext>
            </a:extLst>
          </p:cNvPr>
          <p:cNvSpPr/>
          <p:nvPr userDrawn="1"/>
        </p:nvSpPr>
        <p:spPr>
          <a:xfrm>
            <a:off x="10185399" y="342900"/>
            <a:ext cx="1930401" cy="5524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4444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DF352F-016C-4F53-A5FD-E4B1D46BF1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441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DF352F-016C-4F53-A5FD-E4B1D46BF1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98A7E63-A791-4929-A853-EF801F834CD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IN" sz="44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" name="Picture 5" descr="A black background with orange and grey text&#10;&#10;Description automatically generated">
            <a:extLst>
              <a:ext uri="{FF2B5EF4-FFF2-40B4-BE49-F238E27FC236}">
                <a16:creationId xmlns:a16="http://schemas.microsoft.com/office/drawing/2014/main" id="{042E1B95-FB4C-1F4D-4A4F-6285142B6F8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062" t="45291" r="23062" b="45291"/>
          <a:stretch/>
        </p:blipFill>
        <p:spPr>
          <a:xfrm>
            <a:off x="3726179" y="3133594"/>
            <a:ext cx="4739641" cy="58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053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DF352F-016C-4F53-A5FD-E4B1D46BF1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3212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DF352F-016C-4F53-A5FD-E4B1D46BF1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98A7E63-A791-4929-A853-EF801F834CD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IN" sz="44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8543618-155F-176B-EFED-5AAB87349543}"/>
              </a:ext>
            </a:extLst>
          </p:cNvPr>
          <p:cNvSpPr/>
          <p:nvPr userDrawn="1"/>
        </p:nvSpPr>
        <p:spPr>
          <a:xfrm>
            <a:off x="0" y="0"/>
            <a:ext cx="12192000" cy="10477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5" name="Rectangle: Top Corners Rounded 44">
            <a:extLst>
              <a:ext uri="{FF2B5EF4-FFF2-40B4-BE49-F238E27FC236}">
                <a16:creationId xmlns:a16="http://schemas.microsoft.com/office/drawing/2014/main" id="{8844ABF3-7711-7AC8-E37E-086550BB58FD}"/>
              </a:ext>
            </a:extLst>
          </p:cNvPr>
          <p:cNvSpPr/>
          <p:nvPr userDrawn="1"/>
        </p:nvSpPr>
        <p:spPr>
          <a:xfrm rot="16200000">
            <a:off x="10353677" y="-556262"/>
            <a:ext cx="459103" cy="321754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BB5FE401-6763-B626-DA59-BA8E80B3F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1980" y="2092744"/>
            <a:ext cx="10942319" cy="3355556"/>
          </a:xfrm>
        </p:spPr>
        <p:txBody>
          <a:bodyPr vert="horz" anchor="t"/>
          <a:lstStyle>
            <a:lvl1pPr algn="l">
              <a:lnSpc>
                <a:spcPct val="80000"/>
              </a:lnSpc>
              <a:defRPr sz="8000" b="1" cap="none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pic>
        <p:nvPicPr>
          <p:cNvPr id="56" name="Picture 55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B6DBED11-A0BA-2020-624D-DD5D45D418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94" t="43871" r="21794" b="43871"/>
          <a:stretch/>
        </p:blipFill>
        <p:spPr>
          <a:xfrm>
            <a:off x="9264650" y="5807362"/>
            <a:ext cx="2482850" cy="381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6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8C5D46-9A06-4913-998B-EEB990B11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8794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8C5D46-9A06-4913-998B-EEB990B11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E14D622-941F-4567-B0DF-C5DE5942EA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BE3C41-02E6-32C3-906B-280EE8F70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39C363-DBCB-880F-DCDA-6010CB66A18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sz="1000"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A82119A-2306-CC88-BE0D-F18A25052B8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42901" y="1393129"/>
            <a:ext cx="11466576" cy="4647944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9642D69-9F65-E33D-FB5F-680216AA6E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493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8C5D46-9A06-4913-998B-EEB990B11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1621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8C5D46-9A06-4913-998B-EEB990B11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E14D622-941F-4567-B0DF-C5DE5942EA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BE3C41-02E6-32C3-906B-280EE8F70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39C363-DBCB-880F-DCDA-6010CB66A18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sz="1000"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A82119A-2306-CC88-BE0D-F18A25052B8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42901" y="1248229"/>
            <a:ext cx="11466576" cy="4792844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9642D69-9F65-E33D-FB5F-680216AA6E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9838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C39A909-A315-4312-A158-2082AE8B48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164959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C39A909-A315-4312-A158-2082AE8B48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9A95B2A-06B0-140C-A49B-04E84BAD4F33}"/>
              </a:ext>
            </a:extLst>
          </p:cNvPr>
          <p:cNvSpPr/>
          <p:nvPr userDrawn="1"/>
        </p:nvSpPr>
        <p:spPr>
          <a:xfrm>
            <a:off x="0" y="1685925"/>
            <a:ext cx="2300748" cy="1170882"/>
          </a:xfrm>
          <a:custGeom>
            <a:avLst/>
            <a:gdLst>
              <a:gd name="connsiteX0" fmla="*/ 0 w 2300748"/>
              <a:gd name="connsiteY0" fmla="*/ 0 h 1170882"/>
              <a:gd name="connsiteX1" fmla="*/ 1715307 w 2300748"/>
              <a:gd name="connsiteY1" fmla="*/ 0 h 1170882"/>
              <a:gd name="connsiteX2" fmla="*/ 2300748 w 2300748"/>
              <a:gd name="connsiteY2" fmla="*/ 585441 h 1170882"/>
              <a:gd name="connsiteX3" fmla="*/ 1715307 w 2300748"/>
              <a:gd name="connsiteY3" fmla="*/ 1170882 h 1170882"/>
              <a:gd name="connsiteX4" fmla="*/ 0 w 2300748"/>
              <a:gd name="connsiteY4" fmla="*/ 1170882 h 1170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0748" h="1170882">
                <a:moveTo>
                  <a:pt x="0" y="0"/>
                </a:moveTo>
                <a:lnTo>
                  <a:pt x="1715307" y="0"/>
                </a:lnTo>
                <a:cubicBezTo>
                  <a:pt x="2038637" y="0"/>
                  <a:pt x="2300748" y="262111"/>
                  <a:pt x="2300748" y="585441"/>
                </a:cubicBezTo>
                <a:cubicBezTo>
                  <a:pt x="2300748" y="908771"/>
                  <a:pt x="2038637" y="1170882"/>
                  <a:pt x="1715307" y="1170882"/>
                </a:cubicBezTo>
                <a:lnTo>
                  <a:pt x="0" y="117088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3200" dirty="0" err="1">
              <a:latin typeface="+mn-lt"/>
              <a:ea typeface="+mn-ea"/>
              <a:cs typeface="+mn-cs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0BEFF42-401A-5080-97A6-DF9D80BFEF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1950" y="3162300"/>
            <a:ext cx="8953500" cy="848082"/>
          </a:xfrm>
        </p:spPr>
        <p:txBody>
          <a:bodyPr vert="horz" anchor="b"/>
          <a:lstStyle>
            <a:lvl1pPr algn="l">
              <a:defRPr sz="6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CC4B0402-D4F9-3F19-BACC-F9916ECD74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1950" y="4010382"/>
            <a:ext cx="8953500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4244F197-B7C3-5B33-28B7-677A407A03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656" y="1751895"/>
            <a:ext cx="1382486" cy="1038942"/>
          </a:xfrm>
        </p:spPr>
        <p:txBody>
          <a:bodyPr anchor="ctr">
            <a:noAutofit/>
          </a:bodyPr>
          <a:lstStyle>
            <a:lvl1pPr marL="0" indent="0" algn="ctr">
              <a:buNone/>
              <a:defRPr sz="9600" b="1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01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60720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C39A909-A315-4312-A158-2082AE8B48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3031187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C39A909-A315-4312-A158-2082AE8B48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17DF3374-5001-C12E-CD90-BE8476CB70F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b="52795"/>
          <a:stretch>
            <a:fillRect/>
          </a:stretch>
        </p:blipFill>
        <p:spPr>
          <a:xfrm>
            <a:off x="-440853" y="4463622"/>
            <a:ext cx="5072312" cy="2394379"/>
          </a:xfrm>
          <a:custGeom>
            <a:avLst/>
            <a:gdLst>
              <a:gd name="connsiteX0" fmla="*/ 0 w 5072312"/>
              <a:gd name="connsiteY0" fmla="*/ 0 h 2394379"/>
              <a:gd name="connsiteX1" fmla="*/ 5072312 w 5072312"/>
              <a:gd name="connsiteY1" fmla="*/ 0 h 2394379"/>
              <a:gd name="connsiteX2" fmla="*/ 5072312 w 5072312"/>
              <a:gd name="connsiteY2" fmla="*/ 2394379 h 2394379"/>
              <a:gd name="connsiteX3" fmla="*/ 0 w 5072312"/>
              <a:gd name="connsiteY3" fmla="*/ 2394379 h 2394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72312" h="2394379">
                <a:moveTo>
                  <a:pt x="0" y="0"/>
                </a:moveTo>
                <a:lnTo>
                  <a:pt x="5072312" y="0"/>
                </a:lnTo>
                <a:lnTo>
                  <a:pt x="5072312" y="2394379"/>
                </a:lnTo>
                <a:lnTo>
                  <a:pt x="0" y="2394379"/>
                </a:lnTo>
                <a:close/>
              </a:path>
            </a:pathLst>
          </a:cu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162C550-B146-7802-F014-0CB007CFE446}"/>
              </a:ext>
            </a:extLst>
          </p:cNvPr>
          <p:cNvSpPr/>
          <p:nvPr/>
        </p:nvSpPr>
        <p:spPr>
          <a:xfrm>
            <a:off x="0" y="2590457"/>
            <a:ext cx="4341922" cy="5118056"/>
          </a:xfrm>
          <a:custGeom>
            <a:avLst/>
            <a:gdLst>
              <a:gd name="connsiteX0" fmla="*/ 3793104 w 4341922"/>
              <a:gd name="connsiteY0" fmla="*/ 0 h 5118056"/>
              <a:gd name="connsiteX1" fmla="*/ 4181170 w 4341922"/>
              <a:gd name="connsiteY1" fmla="*/ 160738 h 5118056"/>
              <a:gd name="connsiteX2" fmla="*/ 4181170 w 4341922"/>
              <a:gd name="connsiteY2" fmla="*/ 936886 h 5118056"/>
              <a:gd name="connsiteX3" fmla="*/ 0 w 4341922"/>
              <a:gd name="connsiteY3" fmla="*/ 5118056 h 5118056"/>
              <a:gd name="connsiteX4" fmla="*/ 0 w 4341922"/>
              <a:gd name="connsiteY4" fmla="*/ 3565760 h 5118056"/>
              <a:gd name="connsiteX5" fmla="*/ 3405022 w 4341922"/>
              <a:gd name="connsiteY5" fmla="*/ 160738 h 5118056"/>
              <a:gd name="connsiteX6" fmla="*/ 3793104 w 4341922"/>
              <a:gd name="connsiteY6" fmla="*/ 0 h 5118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41922" h="5118056">
                <a:moveTo>
                  <a:pt x="3793104" y="0"/>
                </a:moveTo>
                <a:cubicBezTo>
                  <a:pt x="3933559" y="0"/>
                  <a:pt x="4074012" y="53580"/>
                  <a:pt x="4181170" y="160738"/>
                </a:cubicBezTo>
                <a:cubicBezTo>
                  <a:pt x="4395506" y="375074"/>
                  <a:pt x="4395506" y="722568"/>
                  <a:pt x="4181170" y="936886"/>
                </a:cubicBezTo>
                <a:lnTo>
                  <a:pt x="0" y="5118056"/>
                </a:lnTo>
                <a:lnTo>
                  <a:pt x="0" y="3565760"/>
                </a:lnTo>
                <a:lnTo>
                  <a:pt x="3405022" y="160738"/>
                </a:lnTo>
                <a:cubicBezTo>
                  <a:pt x="3512191" y="53580"/>
                  <a:pt x="3652648" y="0"/>
                  <a:pt x="3793104" y="0"/>
                </a:cubicBezTo>
                <a:close/>
              </a:path>
            </a:pathLst>
          </a:custGeom>
          <a:gradFill>
            <a:gsLst>
              <a:gs pos="0">
                <a:srgbClr val="FF5A00">
                  <a:alpha val="0"/>
                </a:srgbClr>
              </a:gs>
              <a:gs pos="17000">
                <a:srgbClr val="FF5A00">
                  <a:alpha val="0"/>
                </a:srgbClr>
              </a:gs>
              <a:gs pos="100000">
                <a:srgbClr val="FF5A00"/>
              </a:gs>
            </a:gsLst>
            <a:lin ang="18900000" scaled="1"/>
          </a:gradFill>
          <a:ln w="185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IN">
              <a:latin typeface="+mn-lt"/>
              <a:ea typeface="+mn-ea"/>
              <a:cs typeface="+mn-cs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0BEFF42-401A-5080-97A6-DF9D80BFEF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43450" y="2762252"/>
            <a:ext cx="6019800" cy="795338"/>
          </a:xfrm>
        </p:spPr>
        <p:txBody>
          <a:bodyPr vert="horz" anchor="ctr"/>
          <a:lstStyle>
            <a:lvl1pPr algn="l"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20" name="Text Placeholder 41">
            <a:extLst>
              <a:ext uri="{FF2B5EF4-FFF2-40B4-BE49-F238E27FC236}">
                <a16:creationId xmlns:a16="http://schemas.microsoft.com/office/drawing/2014/main" id="{6A1080C0-E32C-E2F0-E240-51AAF12E49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98520" y="2704648"/>
            <a:ext cx="844187" cy="795338"/>
          </a:xfrm>
        </p:spPr>
        <p:txBody>
          <a:bodyPr anchor="ctr">
            <a:noAutofit/>
          </a:bodyPr>
          <a:lstStyle>
            <a:lvl1pPr marL="0" indent="0">
              <a:buNone/>
              <a:defRPr sz="5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01</a:t>
            </a:r>
            <a:endParaRPr lang="en-IN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131275D-F725-DAD4-A13B-977280A3DC48}"/>
              </a:ext>
            </a:extLst>
          </p:cNvPr>
          <p:cNvSpPr/>
          <p:nvPr userDrawn="1"/>
        </p:nvSpPr>
        <p:spPr>
          <a:xfrm rot="13500000">
            <a:off x="-848816" y="1829488"/>
            <a:ext cx="2369283" cy="3319142"/>
          </a:xfrm>
          <a:custGeom>
            <a:avLst/>
            <a:gdLst>
              <a:gd name="connsiteX0" fmla="*/ 2044484 w 2369283"/>
              <a:gd name="connsiteY0" fmla="*/ 2968364 h 3319142"/>
              <a:gd name="connsiteX1" fmla="*/ 1197631 w 2369283"/>
              <a:gd name="connsiteY1" fmla="*/ 3319142 h 3319142"/>
              <a:gd name="connsiteX2" fmla="*/ 0 w 2369283"/>
              <a:gd name="connsiteY2" fmla="*/ 2121511 h 3319142"/>
              <a:gd name="connsiteX3" fmla="*/ 0 w 2369283"/>
              <a:gd name="connsiteY3" fmla="*/ 0 h 3319142"/>
              <a:gd name="connsiteX4" fmla="*/ 2369283 w 2369283"/>
              <a:gd name="connsiteY4" fmla="*/ 2369282 h 3319142"/>
              <a:gd name="connsiteX5" fmla="*/ 2341419 w 2369283"/>
              <a:gd name="connsiteY5" fmla="*/ 2477650 h 3319142"/>
              <a:gd name="connsiteX6" fmla="*/ 2044484 w 2369283"/>
              <a:gd name="connsiteY6" fmla="*/ 2968364 h 33191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9283" h="3319142">
                <a:moveTo>
                  <a:pt x="2044484" y="2968364"/>
                </a:moveTo>
                <a:cubicBezTo>
                  <a:pt x="1827755" y="3185092"/>
                  <a:pt x="1528347" y="3319142"/>
                  <a:pt x="1197631" y="3319142"/>
                </a:cubicBezTo>
                <a:cubicBezTo>
                  <a:pt x="536198" y="3319142"/>
                  <a:pt x="0" y="2782944"/>
                  <a:pt x="0" y="2121511"/>
                </a:cubicBezTo>
                <a:lnTo>
                  <a:pt x="0" y="0"/>
                </a:lnTo>
                <a:lnTo>
                  <a:pt x="2369283" y="2369282"/>
                </a:lnTo>
                <a:lnTo>
                  <a:pt x="2341419" y="2477650"/>
                </a:lnTo>
                <a:cubicBezTo>
                  <a:pt x="2283098" y="2665157"/>
                  <a:pt x="2179939" y="2832908"/>
                  <a:pt x="2044484" y="2968364"/>
                </a:cubicBezTo>
                <a:close/>
              </a:path>
            </a:pathLst>
          </a:custGeom>
          <a:solidFill>
            <a:schemeClr val="accent1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485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C39A909-A315-4312-A158-2082AE8B48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9121768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C39A909-A315-4312-A158-2082AE8B48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2390F78C-955D-51B1-3EFE-8BDC954F466F}"/>
              </a:ext>
            </a:extLst>
          </p:cNvPr>
          <p:cNvSpPr/>
          <p:nvPr userDrawn="1"/>
        </p:nvSpPr>
        <p:spPr>
          <a:xfrm flipV="1">
            <a:off x="1669143" y="0"/>
            <a:ext cx="3150510" cy="65786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0BEFF42-401A-5080-97A6-DF9D80BFEF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42424" y="2445656"/>
            <a:ext cx="6522357" cy="609600"/>
          </a:xfrm>
        </p:spPr>
        <p:txBody>
          <a:bodyPr vert="horz" anchor="t"/>
          <a:lstStyle>
            <a:lvl1pPr algn="l">
              <a:lnSpc>
                <a:spcPts val="4000"/>
              </a:lnSpc>
              <a:defRPr sz="48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sp>
        <p:nvSpPr>
          <p:cNvPr id="20" name="Text Placeholder 41">
            <a:extLst>
              <a:ext uri="{FF2B5EF4-FFF2-40B4-BE49-F238E27FC236}">
                <a16:creationId xmlns:a16="http://schemas.microsoft.com/office/drawing/2014/main" id="{6A1080C0-E32C-E2F0-E240-51AAF12E49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69599" y="2488519"/>
            <a:ext cx="1631430" cy="795338"/>
          </a:xfrm>
        </p:spPr>
        <p:txBody>
          <a:bodyPr anchor="ctr">
            <a:noAutofit/>
          </a:bodyPr>
          <a:lstStyle>
            <a:lvl1pPr marL="0" indent="0" algn="ctr">
              <a:buNone/>
              <a:defRPr sz="96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01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00817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C39A909-A315-4312-A158-2082AE8B48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655978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C39A909-A315-4312-A158-2082AE8B48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E009A865-3E5B-DB18-DAB0-DCF1AA9BC8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b="1546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6EAE87C-4782-C819-268E-1C1D637DEB63}"/>
              </a:ext>
            </a:extLst>
          </p:cNvPr>
          <p:cNvSpPr/>
          <p:nvPr userDrawn="1"/>
        </p:nvSpPr>
        <p:spPr>
          <a:xfrm>
            <a:off x="0" y="0"/>
            <a:ext cx="12192000" cy="6857337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 err="1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0BEFF42-401A-5080-97A6-DF9D80BFEF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51524" y="2921169"/>
            <a:ext cx="8692626" cy="1015663"/>
          </a:xfrm>
        </p:spPr>
        <p:txBody>
          <a:bodyPr vert="horz" anchor="t">
            <a:noAutofit/>
          </a:bodyPr>
          <a:lstStyle>
            <a:lvl1pPr algn="ctr">
              <a:lnSpc>
                <a:spcPct val="100000"/>
              </a:lnSpc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Header</a:t>
            </a:r>
          </a:p>
        </p:txBody>
      </p:sp>
    </p:spTree>
    <p:extLst>
      <p:ext uri="{BB962C8B-B14F-4D97-AF65-F5344CB8AC3E}">
        <p14:creationId xmlns:p14="http://schemas.microsoft.com/office/powerpoint/2010/main" val="54438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221B35-0FE3-4C2A-9B6E-A4ECAABAE1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976002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526" imgH="526" progId="TCLayout.ActiveDocument.1">
                  <p:embed/>
                </p:oleObj>
              </mc:Choice>
              <mc:Fallback>
                <p:oleObj name="think-cell Slide" r:id="rId55" imgW="526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221B35-0FE3-4C2A-9B6E-A4ECAABAE1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4A3C563-5327-4478-AE5A-24B8093DEBC2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accent6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1" y="342901"/>
            <a:ext cx="9671956" cy="422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755F318-D1F5-4296-A29C-4D8902EA76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2116" y="1248229"/>
            <a:ext cx="11496984" cy="486874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8" name="Footer Placeholder 37">
            <a:extLst>
              <a:ext uri="{FF2B5EF4-FFF2-40B4-BE49-F238E27FC236}">
                <a16:creationId xmlns:a16="http://schemas.microsoft.com/office/drawing/2014/main" id="{3AD8E91D-CE22-4E56-8BEC-E63990A747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2900" y="6296915"/>
            <a:ext cx="11077575" cy="21818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7" name="Picture 6" descr="A black background with orange and grey text&#10;&#10;Description automatically generated">
            <a:extLst>
              <a:ext uri="{FF2B5EF4-FFF2-40B4-BE49-F238E27FC236}">
                <a16:creationId xmlns:a16="http://schemas.microsoft.com/office/drawing/2014/main" id="{69D9BB6F-E70A-F5C9-C0EC-B709EC10F663}"/>
              </a:ext>
            </a:extLst>
          </p:cNvPr>
          <p:cNvPicPr>
            <a:picLocks noChangeAspect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062" t="45291" r="23062" b="45291"/>
          <a:stretch/>
        </p:blipFill>
        <p:spPr>
          <a:xfrm>
            <a:off x="10230973" y="444946"/>
            <a:ext cx="1765084" cy="21818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BD18566-BF6D-ED2A-C5F8-EF9AB184E8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5720" y="6296914"/>
            <a:ext cx="373380" cy="21818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646C342-B5A7-4C6D-80F1-64275CCB58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0473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0" algn="l" defTabSz="457200" rtl="0" eaLnBrk="1" latinLnBrk="0" hangingPunct="1">
        <a:lnSpc>
          <a:spcPct val="89000"/>
        </a:lnSpc>
        <a:spcBef>
          <a:spcPct val="0"/>
        </a:spcBef>
        <a:buNone/>
        <a:defRPr lang="en-US" sz="3000" b="1" kern="120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457200" rtl="0" eaLnBrk="1" latinLnBrk="0" hangingPunct="1">
        <a:spcBef>
          <a:spcPts val="300"/>
        </a:spcBef>
        <a:buClr>
          <a:schemeClr val="accent1"/>
        </a:buClr>
        <a:buFont typeface="Arial" panose="020B0604020202020204" pitchFamily="34" charset="0"/>
        <a:buChar char="•"/>
        <a:defRPr lang="en-US" sz="1400" b="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365760" indent="-182880" algn="l" defTabSz="457200" rtl="0" eaLnBrk="1" latinLnBrk="0" hangingPunct="1">
        <a:spcBef>
          <a:spcPts val="300"/>
        </a:spcBef>
        <a:buClr>
          <a:schemeClr val="accent1"/>
        </a:buClr>
        <a:buFont typeface="Arial" panose="020B0604020202020204" pitchFamily="34" charset="0"/>
        <a:buChar char="–"/>
        <a:defRPr sz="14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82880" algn="l" defTabSz="457200" rtl="0" eaLnBrk="1" latinLnBrk="0" hangingPunct="1"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40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82880" algn="l" defTabSz="457200" rtl="0" eaLnBrk="1" latinLnBrk="0" hangingPunct="1">
        <a:spcBef>
          <a:spcPts val="300"/>
        </a:spcBef>
        <a:buClr>
          <a:schemeClr val="accent1"/>
        </a:buClr>
        <a:buSzPct val="8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182880" algn="l" defTabSz="457200" rtl="0" eaLnBrk="1" latinLnBrk="0" hangingPunct="1">
        <a:spcBef>
          <a:spcPts val="300"/>
        </a:spcBef>
        <a:buClr>
          <a:schemeClr val="accent1"/>
        </a:buClr>
        <a:buFont typeface="DM Sans" pitchFamily="2" charset="0"/>
        <a:buChar char="›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16">
          <p15:clr>
            <a:srgbClr val="F26B43"/>
          </p15:clr>
        </p15:guide>
        <p15:guide id="3" orient="horz" pos="216">
          <p15:clr>
            <a:srgbClr val="F26B43"/>
          </p15:clr>
        </p15:guide>
        <p15:guide id="4" orient="horz" pos="4104">
          <p15:clr>
            <a:srgbClr val="F26B43"/>
          </p15:clr>
        </p15:guide>
        <p15:guide id="5" pos="74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2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8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0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3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85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87.xml"/><Relationship Id="rId6" Type="http://schemas.openxmlformats.org/officeDocument/2006/relationships/image" Target="../media/image18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2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0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E17CAA-D6DD-DFB2-BE2B-808054F84C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D6553FB-C953-85F4-7005-DD482EF76A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6553FB-C953-85F4-7005-DD482EF76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7F2FC1-A63E-3C54-6608-101FD80D7E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AUTH 2.0 &amp; OIDC</a:t>
            </a:r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021B09B-2F3F-47B5-AFD8-9C13EE9A696A}"/>
              </a:ext>
            </a:extLst>
          </p:cNvPr>
          <p:cNvSpPr txBox="1"/>
          <p:nvPr/>
        </p:nvSpPr>
        <p:spPr>
          <a:xfrm>
            <a:off x="740229" y="5991497"/>
            <a:ext cx="20457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d By: Jeffery Afutu</a:t>
            </a:r>
          </a:p>
        </p:txBody>
      </p:sp>
    </p:spTree>
    <p:extLst>
      <p:ext uri="{BB962C8B-B14F-4D97-AF65-F5344CB8AC3E}">
        <p14:creationId xmlns:p14="http://schemas.microsoft.com/office/powerpoint/2010/main" val="97751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5DD5FE-9ED1-5AD4-DF7A-C1C373ED1D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6B4CF8E-EA18-597F-D7A8-96A46C3BB6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B4CF8E-EA18-597F-D7A8-96A46C3BB6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AF8C63-B7BD-78F7-1B67-2BC649F2B8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43450" y="2762252"/>
            <a:ext cx="7448550" cy="795338"/>
          </a:xfrm>
        </p:spPr>
        <p:txBody>
          <a:bodyPr vert="horz"/>
          <a:lstStyle/>
          <a:p>
            <a:pPr>
              <a:lnSpc>
                <a:spcPct val="110000"/>
              </a:lnSpc>
            </a:pPr>
            <a:r>
              <a:rPr lang="en-US" dirty="0"/>
              <a:t>Differences Between OAuth 2.0 &amp; OIDC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26B4A4-6BF6-5E1A-031F-CB9F8E5895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82229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F4B3EE2-9586-A510-9850-3D02F1274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Auth 2.0 vs OID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E2C111-E4AA-1C4B-C88E-FB264FB99E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646C342-B5A7-4C6D-80F1-64275CCB58DE}" type="slidenum">
              <a:rPr lang="en-US" smtClean="0"/>
              <a:pPr/>
              <a:t>11</a:t>
            </a:fld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1A61B0-22C4-8F58-FCBE-8BC0C8F3D1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3086212"/>
              </p:ext>
            </p:extLst>
          </p:nvPr>
        </p:nvGraphicFramePr>
        <p:xfrm>
          <a:off x="2032000" y="2367280"/>
          <a:ext cx="8127999" cy="3032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895668948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1275419796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378416364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e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Auth 2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penID Connect (OIDC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83091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urpo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uthoriz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uthentication + Profile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79193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Toke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Token on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Token + ID Tok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49020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User Inf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 standard user clai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baseline="0" noProof="0" dirty="0">
                          <a:solidFill>
                            <a:srgbClr val="000000"/>
                          </a:solidFill>
                          <a:latin typeface="Aptos"/>
                        </a:rPr>
                        <a:t>Standardized user claims (name, email, etc.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3989498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Discove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No standard discove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.well-know configuration endpoi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8916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Use C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I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ingle Sign-On (SSO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47220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5793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904A97-6FC1-CBE0-7BB3-538B8EFDE6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FCF54BB-DB13-D092-A392-D31C2F37C4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CF54BB-DB13-D092-A392-D31C2F37C4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8A7DAC-B231-BB37-2234-0B5BA6627B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43450" y="2762252"/>
            <a:ext cx="7448550" cy="795338"/>
          </a:xfrm>
        </p:spPr>
        <p:txBody>
          <a:bodyPr vert="horz"/>
          <a:lstStyle/>
          <a:p>
            <a:pPr>
              <a:lnSpc>
                <a:spcPct val="110000"/>
              </a:lnSpc>
            </a:pPr>
            <a:r>
              <a:rPr lang="en-US" dirty="0"/>
              <a:t>Lab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795033-CB6C-0C4E-B609-2CC693548F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3550422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18EC63-F4AB-10E4-6CDE-4007995849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CE01B4B1-6491-6C93-AE80-6AA178DF43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01B4B1-6491-6C93-AE80-6AA178DF4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itle 32">
            <a:extLst>
              <a:ext uri="{FF2B5EF4-FFF2-40B4-BE49-F238E27FC236}">
                <a16:creationId xmlns:a16="http://schemas.microsoft.com/office/drawing/2014/main" id="{5ABB65D4-6325-29ED-8772-E80FC82A5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342901"/>
            <a:ext cx="3457574" cy="422275"/>
          </a:xfrm>
        </p:spPr>
        <p:txBody>
          <a:bodyPr vert="horz"/>
          <a:lstStyle/>
          <a:p>
            <a:r>
              <a:rPr lang="en-GB"/>
              <a:t>Agenda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ACC4493-1BD6-0EB6-2F2A-62D21224738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75720" y="6296914"/>
            <a:ext cx="373380" cy="218185"/>
          </a:xfrm>
        </p:spPr>
        <p:txBody>
          <a:bodyPr/>
          <a:lstStyle/>
          <a:p>
            <a:fld id="{120F14CC-D81A-4793-9343-F78D891F54BB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D731F0F-96A6-7AC4-CEB1-E5A5C1B4E573}"/>
              </a:ext>
            </a:extLst>
          </p:cNvPr>
          <p:cNvSpPr txBox="1">
            <a:spLocks/>
          </p:cNvSpPr>
          <p:nvPr/>
        </p:nvSpPr>
        <p:spPr>
          <a:xfrm>
            <a:off x="5304222" y="1862378"/>
            <a:ext cx="467928" cy="238126"/>
          </a:xfrm>
          <a:prstGeom prst="rect">
            <a:avLst/>
          </a:prstGeom>
        </p:spPr>
        <p:txBody>
          <a:bodyPr lIns="0" tIns="0" rIns="0" bIns="0" anchor="ctr"/>
          <a:lstStyle>
            <a:lvl1pPr marL="18288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DM Sans" pitchFamily="2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 algn="ctr">
              <a:lnSpc>
                <a:spcPct val="110000"/>
              </a:lnSpc>
              <a:spcBef>
                <a:spcPct val="0"/>
              </a:spcBef>
              <a:buNone/>
            </a:pPr>
            <a:r>
              <a:rPr lang="en-GB" sz="1800" b="1" dirty="0">
                <a:solidFill>
                  <a:schemeClr val="accent1"/>
                </a:solidFill>
              </a:rPr>
              <a:t>01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50C32C7C-C971-8273-80FC-BE497FA4A184}"/>
              </a:ext>
            </a:extLst>
          </p:cNvPr>
          <p:cNvSpPr txBox="1">
            <a:spLocks/>
          </p:cNvSpPr>
          <p:nvPr/>
        </p:nvSpPr>
        <p:spPr>
          <a:xfrm>
            <a:off x="5304222" y="2492651"/>
            <a:ext cx="467928" cy="238126"/>
          </a:xfrm>
          <a:prstGeom prst="rect">
            <a:avLst/>
          </a:prstGeom>
        </p:spPr>
        <p:txBody>
          <a:bodyPr lIns="0" tIns="0" rIns="0" bIns="0" anchor="ctr"/>
          <a:lstStyle>
            <a:lvl1pPr marL="18288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DM Sans" pitchFamily="2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 algn="ctr">
              <a:lnSpc>
                <a:spcPct val="110000"/>
              </a:lnSpc>
              <a:spcBef>
                <a:spcPct val="0"/>
              </a:spcBef>
              <a:buNone/>
            </a:pPr>
            <a:r>
              <a:rPr lang="en-GB" sz="1800" b="1" dirty="0">
                <a:solidFill>
                  <a:schemeClr val="accent1"/>
                </a:solidFill>
              </a:rPr>
              <a:t>02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B6A85D0E-F1FE-BD05-204D-68F96C4C8083}"/>
              </a:ext>
            </a:extLst>
          </p:cNvPr>
          <p:cNvSpPr txBox="1">
            <a:spLocks/>
          </p:cNvSpPr>
          <p:nvPr/>
        </p:nvSpPr>
        <p:spPr>
          <a:xfrm>
            <a:off x="5304222" y="3731043"/>
            <a:ext cx="467928" cy="238126"/>
          </a:xfrm>
          <a:prstGeom prst="rect">
            <a:avLst/>
          </a:prstGeom>
        </p:spPr>
        <p:txBody>
          <a:bodyPr lIns="0" tIns="0" rIns="0" bIns="0" anchor="ctr"/>
          <a:lstStyle>
            <a:lvl1pPr marL="18288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DM Sans" pitchFamily="2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 algn="ctr">
              <a:lnSpc>
                <a:spcPct val="110000"/>
              </a:lnSpc>
              <a:spcBef>
                <a:spcPct val="0"/>
              </a:spcBef>
              <a:buNone/>
            </a:pPr>
            <a:r>
              <a:rPr lang="en-GB" sz="1800" b="1" dirty="0">
                <a:solidFill>
                  <a:schemeClr val="accent1"/>
                </a:solidFill>
              </a:rPr>
              <a:t>04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89733302-6686-41CB-3732-1CB661E3A0D0}"/>
              </a:ext>
            </a:extLst>
          </p:cNvPr>
          <p:cNvSpPr txBox="1">
            <a:spLocks/>
          </p:cNvSpPr>
          <p:nvPr/>
        </p:nvSpPr>
        <p:spPr>
          <a:xfrm>
            <a:off x="5304222" y="3100770"/>
            <a:ext cx="467928" cy="238126"/>
          </a:xfrm>
          <a:prstGeom prst="rect">
            <a:avLst/>
          </a:prstGeom>
        </p:spPr>
        <p:txBody>
          <a:bodyPr lIns="0" tIns="0" rIns="0" bIns="0" anchor="ctr"/>
          <a:lstStyle>
            <a:lvl1pPr marL="18288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DM Sans" pitchFamily="2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 algn="ctr">
              <a:lnSpc>
                <a:spcPct val="110000"/>
              </a:lnSpc>
              <a:spcBef>
                <a:spcPct val="0"/>
              </a:spcBef>
              <a:buNone/>
            </a:pPr>
            <a:r>
              <a:rPr lang="en-GB" sz="1800" b="1" dirty="0">
                <a:solidFill>
                  <a:schemeClr val="accent1"/>
                </a:solidFill>
              </a:rPr>
              <a:t>03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C2E159F-C7C5-A4CC-14B3-8ECD9903F9B3}"/>
              </a:ext>
            </a:extLst>
          </p:cNvPr>
          <p:cNvCxnSpPr/>
          <p:nvPr/>
        </p:nvCxnSpPr>
        <p:spPr>
          <a:xfrm>
            <a:off x="5304222" y="2296577"/>
            <a:ext cx="592184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9420756-89B0-BDF5-81CC-600B8D1A8875}"/>
              </a:ext>
            </a:extLst>
          </p:cNvPr>
          <p:cNvCxnSpPr/>
          <p:nvPr/>
        </p:nvCxnSpPr>
        <p:spPr>
          <a:xfrm>
            <a:off x="5304222" y="2926849"/>
            <a:ext cx="592184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8D13096-E5E6-FB32-AE0D-E129A500C978}"/>
              </a:ext>
            </a:extLst>
          </p:cNvPr>
          <p:cNvCxnSpPr/>
          <p:nvPr/>
        </p:nvCxnSpPr>
        <p:spPr>
          <a:xfrm>
            <a:off x="5304222" y="3534967"/>
            <a:ext cx="592184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70A2450-854D-74CA-BC44-9EF46067950E}"/>
              </a:ext>
            </a:extLst>
          </p:cNvPr>
          <p:cNvCxnSpPr/>
          <p:nvPr/>
        </p:nvCxnSpPr>
        <p:spPr>
          <a:xfrm>
            <a:off x="5304222" y="4076416"/>
            <a:ext cx="592184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E249BB3-88BB-4E2A-D8FA-4AE07F964767}"/>
              </a:ext>
            </a:extLst>
          </p:cNvPr>
          <p:cNvSpPr txBox="1">
            <a:spLocks/>
          </p:cNvSpPr>
          <p:nvPr/>
        </p:nvSpPr>
        <p:spPr>
          <a:xfrm>
            <a:off x="6069724" y="1862378"/>
            <a:ext cx="5136717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288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DM Sans" pitchFamily="2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Introduction to Authentication &amp; Authorization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BCDBEF85-0EEC-BE2C-87FD-B5DC3CFD45BF}"/>
              </a:ext>
            </a:extLst>
          </p:cNvPr>
          <p:cNvSpPr txBox="1">
            <a:spLocks/>
          </p:cNvSpPr>
          <p:nvPr/>
        </p:nvSpPr>
        <p:spPr>
          <a:xfrm>
            <a:off x="6069724" y="2492650"/>
            <a:ext cx="5136717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288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DM Sans" pitchFamily="2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OAuth 2.0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DE6F1B0A-AC97-ED9D-287B-F0B2D3D48CC5}"/>
              </a:ext>
            </a:extLst>
          </p:cNvPr>
          <p:cNvSpPr txBox="1">
            <a:spLocks/>
          </p:cNvSpPr>
          <p:nvPr/>
        </p:nvSpPr>
        <p:spPr>
          <a:xfrm>
            <a:off x="6069724" y="3731043"/>
            <a:ext cx="5136717" cy="2274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288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DM Sans" pitchFamily="2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ct val="0"/>
              </a:spcBef>
              <a:buNone/>
            </a:pPr>
            <a:r>
              <a:rPr lang="en-US" dirty="0"/>
              <a:t>Differences Between OAuth 2.0 &amp; OIDC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AC90FAC0-7682-4F1E-8BD4-43011759FD5F}"/>
              </a:ext>
            </a:extLst>
          </p:cNvPr>
          <p:cNvSpPr txBox="1">
            <a:spLocks/>
          </p:cNvSpPr>
          <p:nvPr/>
        </p:nvSpPr>
        <p:spPr>
          <a:xfrm>
            <a:off x="6069724" y="3100766"/>
            <a:ext cx="5136717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288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DM Sans" pitchFamily="2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OpenID Connect (OIDC)</a:t>
            </a: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BD6FC733-F006-6837-8651-51F3014ADA02}"/>
              </a:ext>
            </a:extLst>
          </p:cNvPr>
          <p:cNvSpPr txBox="1">
            <a:spLocks/>
          </p:cNvSpPr>
          <p:nvPr/>
        </p:nvSpPr>
        <p:spPr>
          <a:xfrm>
            <a:off x="5293136" y="4247121"/>
            <a:ext cx="467928" cy="238126"/>
          </a:xfrm>
          <a:prstGeom prst="rect">
            <a:avLst/>
          </a:prstGeom>
        </p:spPr>
        <p:txBody>
          <a:bodyPr lIns="0" tIns="0" rIns="0" bIns="0" anchor="ctr"/>
          <a:lstStyle>
            <a:lvl1pPr marL="18288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DM Sans" pitchFamily="2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 algn="ctr">
              <a:lnSpc>
                <a:spcPct val="110000"/>
              </a:lnSpc>
              <a:spcBef>
                <a:spcPct val="0"/>
              </a:spcBef>
              <a:buNone/>
            </a:pPr>
            <a:r>
              <a:rPr lang="en-GB" sz="1800" b="1" dirty="0">
                <a:solidFill>
                  <a:schemeClr val="accent1"/>
                </a:solidFill>
              </a:rPr>
              <a:t>05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56FCD1-6F6F-080A-C606-096B501629B0}"/>
              </a:ext>
            </a:extLst>
          </p:cNvPr>
          <p:cNvCxnSpPr/>
          <p:nvPr/>
        </p:nvCxnSpPr>
        <p:spPr>
          <a:xfrm>
            <a:off x="5293136" y="4592494"/>
            <a:ext cx="592184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F0DA40B8-B3AB-A777-ED54-FA25C0ED9B43}"/>
              </a:ext>
            </a:extLst>
          </p:cNvPr>
          <p:cNvSpPr txBox="1">
            <a:spLocks/>
          </p:cNvSpPr>
          <p:nvPr/>
        </p:nvSpPr>
        <p:spPr>
          <a:xfrm>
            <a:off x="6058638" y="4247121"/>
            <a:ext cx="5136717" cy="2274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288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DM Sans" pitchFamily="2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ct val="0"/>
              </a:spcBef>
              <a:buNone/>
            </a:pPr>
            <a:r>
              <a:rPr lang="en-US" dirty="0"/>
              <a:t>Labs</a:t>
            </a:r>
          </a:p>
        </p:txBody>
      </p:sp>
    </p:spTree>
    <p:extLst>
      <p:ext uri="{BB962C8B-B14F-4D97-AF65-F5344CB8AC3E}">
        <p14:creationId xmlns:p14="http://schemas.microsoft.com/office/powerpoint/2010/main" val="133252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5DD5FE-9ED1-5AD4-DF7A-C1C373ED1D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6B4CF8E-EA18-597F-D7A8-96A46C3BB6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B4CF8E-EA18-597F-D7A8-96A46C3BB6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AF8C63-B7BD-78F7-1B67-2BC649F2B8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Introduction to Authentication &amp; Authoriz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26B4A4-6BF6-5E1A-031F-CB9F8E5895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283467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719BDBC-0031-72D9-54C8-7F56435081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19BDBC-0031-72D9-54C8-7F56435081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10753B5-9E87-9CB6-2618-F048E210187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65125" y="1393371"/>
            <a:ext cx="5608638" cy="314795"/>
          </a:xfrm>
        </p:spPr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AD4ABC10-8E33-350A-F816-466E9568CBA3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18238" y="1393371"/>
            <a:ext cx="5608638" cy="314795"/>
          </a:xfrm>
        </p:spPr>
        <p:txBody>
          <a:bodyPr/>
          <a:lstStyle/>
          <a:p>
            <a:r>
              <a:rPr lang="en-US" dirty="0"/>
              <a:t>Key Featur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2E5886-9134-35F3-D7A9-430E7E81932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59" y="1856036"/>
            <a:ext cx="5608320" cy="4351322"/>
          </a:xfrm>
        </p:spPr>
        <p:txBody>
          <a:bodyPr/>
          <a:lstStyle/>
          <a:p>
            <a:pPr marL="0" lvl="0" indent="0">
              <a:buNone/>
            </a:pPr>
            <a:r>
              <a:rPr lang="en-US" b="1" u="sng" dirty="0"/>
              <a:t>Authentication (Who are you?)</a:t>
            </a:r>
          </a:p>
          <a:p>
            <a:r>
              <a:rPr lang="en-US" b="1" dirty="0"/>
              <a:t>Purpose:</a:t>
            </a:r>
            <a:r>
              <a:rPr lang="en-US" dirty="0"/>
              <a:t> Verifies the identity of a user/system.</a:t>
            </a:r>
          </a:p>
          <a:p>
            <a:r>
              <a:rPr lang="en-US" b="1" dirty="0"/>
              <a:t>Methods:</a:t>
            </a:r>
            <a:endParaRPr lang="en-US" dirty="0"/>
          </a:p>
          <a:p>
            <a:pPr lvl="1"/>
            <a:r>
              <a:rPr lang="en-US" dirty="0"/>
              <a:t>Passwords (e.g., username + password)</a:t>
            </a:r>
          </a:p>
          <a:p>
            <a:pPr lvl="1"/>
            <a:r>
              <a:rPr lang="en-US" dirty="0"/>
              <a:t>Multi-Factor Authentication (MFA) (e.g., SMS code + password)</a:t>
            </a:r>
          </a:p>
          <a:p>
            <a:pPr lvl="1"/>
            <a:r>
              <a:rPr lang="en-US" dirty="0"/>
              <a:t>Biometrics (e.g., fingerprint, face recognition)</a:t>
            </a:r>
          </a:p>
          <a:p>
            <a:pPr lvl="1"/>
            <a:r>
              <a:rPr lang="en-US" dirty="0"/>
              <a:t>OAuth 2.0 / OpenID Connect (e.g., "Sign in with Google")</a:t>
            </a:r>
          </a:p>
          <a:p>
            <a:r>
              <a:rPr lang="en-US" b="1" dirty="0"/>
              <a:t>Example:</a:t>
            </a:r>
            <a:endParaRPr lang="en-US" dirty="0"/>
          </a:p>
          <a:p>
            <a:pPr lvl="1"/>
            <a:r>
              <a:rPr lang="en-US" dirty="0"/>
              <a:t>Logging into your email with a password.</a:t>
            </a:r>
          </a:p>
          <a:p>
            <a:pPr lvl="1"/>
            <a:r>
              <a:rPr lang="en-US" dirty="0"/>
              <a:t>Scanning your face to unlock your phone.</a:t>
            </a:r>
          </a:p>
          <a:p>
            <a:pPr lvl="0"/>
            <a:endParaRPr lang="en-US" b="1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CE8A3BA-9A1C-5B2E-1859-7BF0170016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7920" y="1856036"/>
            <a:ext cx="5608320" cy="4351322"/>
          </a:xfrm>
        </p:spPr>
        <p:txBody>
          <a:bodyPr vert="horz" wrap="square" lIns="0" tIns="0" rIns="0" bIns="0" rtlCol="0" anchor="t">
            <a:normAutofit/>
          </a:bodyPr>
          <a:lstStyle/>
          <a:p>
            <a:pPr marL="0" indent="0">
              <a:buNone/>
            </a:pPr>
            <a:r>
              <a:rPr lang="en-US" sz="1300" b="1" u="sng" dirty="0"/>
              <a:t>Authorization (</a:t>
            </a:r>
            <a:r>
              <a:rPr lang="en-US" sz="1300" b="1" u="sng" dirty="0">
                <a:ea typeface="+mn-lt"/>
                <a:cs typeface="+mn-lt"/>
              </a:rPr>
              <a:t>What are you allowed to do?</a:t>
            </a:r>
            <a:r>
              <a:rPr lang="en-US" sz="1300" b="1" u="sng" dirty="0"/>
              <a:t>)</a:t>
            </a:r>
          </a:p>
          <a:p>
            <a:r>
              <a:rPr lang="en-US" b="1" dirty="0"/>
              <a:t>Purpose:</a:t>
            </a:r>
            <a:r>
              <a:rPr lang="en-US" dirty="0"/>
              <a:t> Determines permissions (what resources a user can access).</a:t>
            </a:r>
          </a:p>
          <a:p>
            <a:pPr lvl="0"/>
            <a:r>
              <a:rPr lang="en-US" b="1" dirty="0"/>
              <a:t>Methods:</a:t>
            </a:r>
          </a:p>
          <a:p>
            <a:pPr lvl="1"/>
            <a:r>
              <a:rPr lang="en-US" dirty="0"/>
              <a:t>Role-Based Access Control (RBAC) (e.g., admin vs. user roles)</a:t>
            </a:r>
          </a:p>
          <a:p>
            <a:pPr lvl="1"/>
            <a:r>
              <a:rPr lang="en-US" dirty="0"/>
              <a:t>Permissions (Scopes) (e.g., </a:t>
            </a:r>
            <a:r>
              <a:rPr lang="en-US" dirty="0" err="1"/>
              <a:t>read:data</a:t>
            </a:r>
            <a:r>
              <a:rPr lang="en-US" dirty="0"/>
              <a:t>, </a:t>
            </a:r>
            <a:r>
              <a:rPr lang="en-US" dirty="0" err="1"/>
              <a:t>write:data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OAuth 2.0 Tokens (e.g., an </a:t>
            </a:r>
            <a:r>
              <a:rPr lang="en-US" dirty="0" err="1"/>
              <a:t>access_token</a:t>
            </a:r>
            <a:r>
              <a:rPr lang="en-US" dirty="0"/>
              <a:t> with scope=read)</a:t>
            </a:r>
          </a:p>
          <a:p>
            <a:r>
              <a:rPr lang="en-US" b="1" dirty="0"/>
              <a:t>Example:</a:t>
            </a:r>
            <a:endParaRPr lang="en-US" dirty="0"/>
          </a:p>
          <a:p>
            <a:pPr lvl="1"/>
            <a:r>
              <a:rPr lang="en-US" dirty="0"/>
              <a:t>An admin can delete users, but a regular user cannot.</a:t>
            </a:r>
          </a:p>
          <a:p>
            <a:pPr lvl="1"/>
            <a:r>
              <a:rPr lang="en-US" dirty="0"/>
              <a:t>A weather app requests read-only access to your location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5A02FDC-4F5C-A512-9EF1-AE8A484E4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342901"/>
            <a:ext cx="9671956" cy="422275"/>
          </a:xfrm>
        </p:spPr>
        <p:txBody>
          <a:bodyPr vert="horz"/>
          <a:lstStyle/>
          <a:p>
            <a:r>
              <a:rPr lang="en-US" dirty="0"/>
              <a:t>Authentication and Authorization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7E3B09-2E95-82F6-3D38-4EF82E589E5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75720" y="6296914"/>
            <a:ext cx="373380" cy="218185"/>
          </a:xfrm>
        </p:spPr>
        <p:txBody>
          <a:bodyPr/>
          <a:lstStyle/>
          <a:p>
            <a:fld id="{120F14CC-D81A-4793-9343-F78D891F54B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327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5DD5FE-9ED1-5AD4-DF7A-C1C373ED1D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6B4CF8E-EA18-597F-D7A8-96A46C3BB6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B4CF8E-EA18-597F-D7A8-96A46C3BB6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AF8C63-B7BD-78F7-1B67-2BC649F2B8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43450" y="2762252"/>
            <a:ext cx="8413750" cy="895348"/>
          </a:xfrm>
        </p:spPr>
        <p:txBody>
          <a:bodyPr vert="horz"/>
          <a:lstStyle/>
          <a:p>
            <a:r>
              <a:rPr lang="en-US" dirty="0"/>
              <a:t>What is OAuth 2.0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26B4A4-6BF6-5E1A-031F-CB9F8E5895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2376057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AA970E-7094-FB00-B8D1-B666F415F4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0DF0F10-E110-64E8-E215-08DEB14F0B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DF0F10-E110-64E8-E215-08DEB14F0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8D7F710-6945-54C3-2C46-32EDAE6C88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342901"/>
            <a:ext cx="9671956" cy="410882"/>
          </a:xfrm>
        </p:spPr>
        <p:txBody>
          <a:bodyPr vert="horz"/>
          <a:lstStyle/>
          <a:p>
            <a:r>
              <a:rPr lang="en-US" dirty="0"/>
              <a:t>Traditional Approach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D45D857-40ED-60DE-7B73-AFDC34F0773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589543" y="6296915"/>
            <a:ext cx="259557" cy="218184"/>
          </a:xfrm>
        </p:spPr>
        <p:txBody>
          <a:bodyPr/>
          <a:lstStyle/>
          <a:p>
            <a:fld id="{120F14CC-D81A-4793-9343-F78D891F54BB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6FDB3F7B-5DCC-646F-0437-979A9FE877A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77509" y="1601797"/>
            <a:ext cx="6671591" cy="3654404"/>
          </a:xfrm>
          <a:prstGeom prst="rect">
            <a:avLst/>
          </a:prstGeom>
        </p:spPr>
      </p:pic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653FF4F-7242-E1B9-8284-51B20D481EAD}"/>
              </a:ext>
            </a:extLst>
          </p:cNvPr>
          <p:cNvSpPr txBox="1">
            <a:spLocks/>
          </p:cNvSpPr>
          <p:nvPr/>
        </p:nvSpPr>
        <p:spPr>
          <a:xfrm>
            <a:off x="98855" y="1612555"/>
            <a:ext cx="5078654" cy="363288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8288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DM Sans" pitchFamily="2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In the traditional client-server model, users (resource owners) must share their passwords with third-party apps to let them access protected resources. This approach has several problems:</a:t>
            </a:r>
          </a:p>
          <a:p>
            <a:r>
              <a:rPr lang="en-US" dirty="0">
                <a:solidFill>
                  <a:schemeClr val="bg1"/>
                </a:solidFill>
              </a:rPr>
              <a:t>Third-party apps have to store the user’s password, often in plain text.</a:t>
            </a:r>
          </a:p>
          <a:p>
            <a:r>
              <a:rPr lang="en-US" dirty="0">
                <a:solidFill>
                  <a:schemeClr val="bg1"/>
                </a:solidFill>
              </a:rPr>
              <a:t>Servers must allow password-based logins, which are insecure.</a:t>
            </a:r>
          </a:p>
          <a:p>
            <a:r>
              <a:rPr lang="en-US" dirty="0">
                <a:solidFill>
                  <a:schemeClr val="bg1"/>
                </a:solidFill>
              </a:rPr>
              <a:t>Third-party apps get full access to user data, with no way to limit what they can do or how long they can access it.</a:t>
            </a:r>
          </a:p>
          <a:p>
            <a:r>
              <a:rPr lang="en-US" dirty="0">
                <a:solidFill>
                  <a:schemeClr val="bg1"/>
                </a:solidFill>
              </a:rPr>
              <a:t>Users can't revoke access from just one app — they must change their password, which affects all apps.</a:t>
            </a:r>
          </a:p>
          <a:p>
            <a:r>
              <a:rPr lang="en-US">
                <a:solidFill>
                  <a:schemeClr val="bg1"/>
                </a:solidFill>
              </a:rPr>
              <a:t>Compromise in third party application results in compromise in end user's password.</a:t>
            </a:r>
          </a:p>
        </p:txBody>
      </p:sp>
    </p:spTree>
    <p:extLst>
      <p:ext uri="{BB962C8B-B14F-4D97-AF65-F5344CB8AC3E}">
        <p14:creationId xmlns:p14="http://schemas.microsoft.com/office/powerpoint/2010/main" val="3076102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6693EC8-BA51-1734-FDAD-2CEF7B34D6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59" y="1393371"/>
            <a:ext cx="3659068" cy="2035629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What is  </a:t>
            </a:r>
            <a:r>
              <a:rPr lang="en-US" b="1" dirty="0" err="1"/>
              <a:t>Oauth</a:t>
            </a:r>
            <a:r>
              <a:rPr lang="en-US" b="1" dirty="0"/>
              <a:t> 2.0?</a:t>
            </a:r>
          </a:p>
          <a:p>
            <a:r>
              <a:rPr lang="en-US" b="1" dirty="0"/>
              <a:t>Definition:</a:t>
            </a:r>
            <a:r>
              <a:rPr lang="en-US" dirty="0"/>
              <a:t> An authorization framework for delegated access.</a:t>
            </a:r>
          </a:p>
          <a:p>
            <a:r>
              <a:rPr lang="en-US" b="1" dirty="0"/>
              <a:t>Purpose:</a:t>
            </a:r>
            <a:r>
              <a:rPr lang="en-US" dirty="0"/>
              <a:t> Allows apps to access user data without exposing credentials.</a:t>
            </a:r>
          </a:p>
          <a:p>
            <a:r>
              <a:rPr lang="en-US" b="1" dirty="0"/>
              <a:t>Example:</a:t>
            </a:r>
            <a:endParaRPr lang="en-US" dirty="0"/>
          </a:p>
          <a:p>
            <a:pPr lvl="1"/>
            <a:r>
              <a:rPr lang="en-US" dirty="0"/>
              <a:t>A weather app accessing your location from Googl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808819B-746B-C064-AB58-CBB2013D1C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AUTH 2.0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58F1BC2-F9C6-6E8B-9747-5D531B0B71C3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277896" y="1393371"/>
            <a:ext cx="3659068" cy="2035629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OAuth 2.0 Roles</a:t>
            </a:r>
            <a:endParaRPr lang="en-US" dirty="0"/>
          </a:p>
          <a:p>
            <a:r>
              <a:rPr lang="en-US" b="1" dirty="0"/>
              <a:t>Resource Owner</a:t>
            </a:r>
            <a:r>
              <a:rPr lang="en-US" dirty="0"/>
              <a:t> (User)</a:t>
            </a:r>
          </a:p>
          <a:p>
            <a:r>
              <a:rPr lang="en-US" b="1" dirty="0"/>
              <a:t>Client</a:t>
            </a:r>
            <a:r>
              <a:rPr lang="en-US" dirty="0"/>
              <a:t> (Application requesting access)</a:t>
            </a:r>
          </a:p>
          <a:p>
            <a:r>
              <a:rPr lang="en-US" b="1" dirty="0"/>
              <a:t>Authorization Server</a:t>
            </a:r>
            <a:r>
              <a:rPr lang="en-US" dirty="0"/>
              <a:t> (Issues tokens, e.g., Google Auth)</a:t>
            </a:r>
          </a:p>
          <a:p>
            <a:r>
              <a:rPr lang="en-US" b="1" dirty="0"/>
              <a:t>Resource Server</a:t>
            </a:r>
            <a:r>
              <a:rPr lang="en-US" dirty="0"/>
              <a:t> (Holds protected data, e.g., Google APIs)</a:t>
            </a:r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2834F29-A767-78C7-6B26-57552629BD97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8190032" y="1393371"/>
            <a:ext cx="3659068" cy="2035629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OAuth 2.0 Flow (High-Level)</a:t>
            </a:r>
            <a:endParaRPr lang="en-US" dirty="0"/>
          </a:p>
          <a:p>
            <a:r>
              <a:rPr lang="en-US" dirty="0"/>
              <a:t>User requests access via Client.</a:t>
            </a:r>
          </a:p>
          <a:p>
            <a:r>
              <a:rPr lang="en-US" dirty="0"/>
              <a:t>Client redirects to Authorization Server.</a:t>
            </a:r>
          </a:p>
          <a:p>
            <a:r>
              <a:rPr lang="en-US" dirty="0"/>
              <a:t>User authenticates &amp; grants permission.</a:t>
            </a:r>
          </a:p>
          <a:p>
            <a:r>
              <a:rPr lang="en-US" dirty="0"/>
              <a:t>Authorization Server issues an </a:t>
            </a:r>
            <a:r>
              <a:rPr lang="en-US" b="1" dirty="0"/>
              <a:t>Access Token</a:t>
            </a:r>
            <a:r>
              <a:rPr lang="en-US" dirty="0"/>
              <a:t>.</a:t>
            </a:r>
          </a:p>
          <a:p>
            <a:r>
              <a:rPr lang="en-US" dirty="0"/>
              <a:t>Client uses token to access Resource Server.</a:t>
            </a:r>
          </a:p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E9294B-984B-4112-2445-B73FCDBF6AD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646C342-B5A7-4C6D-80F1-64275CCB58DE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017A8ECB-8E0C-3EF8-2712-DD960E3F9323}"/>
              </a:ext>
            </a:extLst>
          </p:cNvPr>
          <p:cNvSpPr txBox="1">
            <a:spLocks/>
          </p:cNvSpPr>
          <p:nvPr/>
        </p:nvSpPr>
        <p:spPr>
          <a:xfrm>
            <a:off x="342900" y="3429000"/>
            <a:ext cx="3659068" cy="2035629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 marL="18288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333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333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333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DM Sans" pitchFamily="2" charset="0"/>
              <a:buChar char="›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 b="1" dirty="0"/>
              <a:t>OAuth 2.0 Grant Types</a:t>
            </a:r>
            <a:endParaRPr lang="en-US" sz="1300" dirty="0"/>
          </a:p>
          <a:p>
            <a:r>
              <a:rPr lang="en-US" sz="1300" dirty="0"/>
              <a:t>Authorization Code (with PKCE) - Secure for public clients.</a:t>
            </a:r>
          </a:p>
          <a:p>
            <a:r>
              <a:rPr lang="en-US" sz="1300" dirty="0"/>
              <a:t>Client Credentials - Machine-to-machine communication.</a:t>
            </a:r>
          </a:p>
          <a:p>
            <a:r>
              <a:rPr lang="en-US" sz="1300" dirty="0"/>
              <a:t>Implicit (deprecated) - For browser apps.</a:t>
            </a:r>
            <a:endParaRPr lang="en-US"/>
          </a:p>
          <a:p>
            <a:r>
              <a:rPr lang="en-US" sz="1300" dirty="0"/>
              <a:t>Resource Owner Password (deprecated) - Uses user credentials directly.</a:t>
            </a:r>
          </a:p>
          <a:p>
            <a:endParaRPr lang="en-US" sz="1300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575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5DD5FE-9ED1-5AD4-DF7A-C1C373ED1D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6B4CF8E-EA18-597F-D7A8-96A46C3BB6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B4CF8E-EA18-597F-D7A8-96A46C3BB6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AF8C63-B7BD-78F7-1B67-2BC649F2B8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43450" y="2762252"/>
            <a:ext cx="7448550" cy="795338"/>
          </a:xfrm>
        </p:spPr>
        <p:txBody>
          <a:bodyPr vert="horz"/>
          <a:lstStyle/>
          <a:p>
            <a:r>
              <a:rPr lang="en-US" dirty="0"/>
              <a:t>OpenID Connect (OIDC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26B4A4-6BF6-5E1A-031F-CB9F8E5895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3588591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D52DFE1-1F81-5AAF-5541-7FD4B5E5A1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2901" y="1037319"/>
            <a:ext cx="5257799" cy="778328"/>
          </a:xfrm>
        </p:spPr>
        <p:txBody>
          <a:bodyPr/>
          <a:lstStyle/>
          <a:p>
            <a:r>
              <a:rPr lang="en-US" b="1" dirty="0"/>
              <a:t>Definition:</a:t>
            </a:r>
            <a:r>
              <a:rPr lang="en-US" dirty="0"/>
              <a:t> An </a:t>
            </a:r>
            <a:r>
              <a:rPr lang="en-US" b="1" dirty="0"/>
              <a:t>authentication layer</a:t>
            </a:r>
            <a:r>
              <a:rPr lang="en-US" dirty="0"/>
              <a:t> on top of OAuth 2.0.</a:t>
            </a:r>
          </a:p>
          <a:p>
            <a:r>
              <a:rPr lang="en-US" b="1" dirty="0"/>
              <a:t>Purpose:</a:t>
            </a:r>
            <a:r>
              <a:rPr lang="en-US" dirty="0"/>
              <a:t> Verifies user identity and provides profile info (ID Token).</a:t>
            </a:r>
          </a:p>
          <a:p>
            <a:r>
              <a:rPr lang="en-US" b="1" dirty="0"/>
              <a:t>Example:</a:t>
            </a:r>
            <a:r>
              <a:rPr lang="en-US" dirty="0"/>
              <a:t> "Login with Google" on a website.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4395710-11D3-BEFA-990F-27AC27BAA9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ID Connect (OIDC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2688BB-5B32-F466-ED4F-16F237A0A1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646C342-B5A7-4C6D-80F1-64275CCB58DE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0A509A4C-002F-8A24-F482-1399D5A427F1}"/>
              </a:ext>
            </a:extLst>
          </p:cNvPr>
          <p:cNvSpPr txBox="1">
            <a:spLocks/>
          </p:cNvSpPr>
          <p:nvPr/>
        </p:nvSpPr>
        <p:spPr>
          <a:xfrm>
            <a:off x="485775" y="1933574"/>
            <a:ext cx="11323702" cy="41243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18288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SzPct val="80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DM Sans" pitchFamily="2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8" name="Picture 7" descr="A diagram of a computer&#10;&#10;AI-generated content may be incorrect.">
            <a:extLst>
              <a:ext uri="{FF2B5EF4-FFF2-40B4-BE49-F238E27FC236}">
                <a16:creationId xmlns:a16="http://schemas.microsoft.com/office/drawing/2014/main" id="{CDC7313C-E224-C80E-0966-F54BB158D0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8150" y="1828558"/>
            <a:ext cx="7772799" cy="468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152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Xze8whOj1AO2O6slF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Xze8whOj1AO2O6slF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jrfVwBms2XvkqBt35x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gIjVSO2uRRJk1OotggA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jrfVwBms2XvkqBt35x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jrfVwBms2XvkqBt35x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jrfVwBms2XvkqBt35x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jrfVwBms2XvkqBt35xN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jrfVwBms2XvkqBt35xN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orf.77KkUjNiTJYCzx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orf.77KkUjNiTJYCzxm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orf.77KkUjNiTJYCzxm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orf.77KkUjNiTJYCzxm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orf.77KkUjNiTJYCzxm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Xze8whOj1AO2O6slF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orf.77KkUjNiTJYCzxm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jrfVwBms2XvkqBt35x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jrfVwBms2XvkqBt35xN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Xze8whOj1AO2O6slFc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jrfVwBms2XvkqBt35xN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jrfVwBms2XvkqBt35xN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jrfVwBms2XvkqBt35xN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Xze8whOj1AO2O6slFc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Xze8whOj1AO2O6slFc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jrfVwBms2XvkqBt35xN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Xze8whOj1AO2O6slFc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orf.77KkUjNiTJYCzxm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Xze8whOj1AO2O6slFc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orf.77KkUjNiTJYCzxm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Platinum Equity 1_Custom Design">
  <a:themeElements>
    <a:clrScheme name="AmaliTech">
      <a:dk1>
        <a:srgbClr val="000000"/>
      </a:dk1>
      <a:lt1>
        <a:srgbClr val="FFFFFF"/>
      </a:lt1>
      <a:dk2>
        <a:srgbClr val="08283B"/>
      </a:dk2>
      <a:lt2>
        <a:srgbClr val="FFFFFF"/>
      </a:lt2>
      <a:accent1>
        <a:srgbClr val="FF5A00"/>
      </a:accent1>
      <a:accent2>
        <a:srgbClr val="08283B"/>
      </a:accent2>
      <a:accent3>
        <a:srgbClr val="5DAFF6"/>
      </a:accent3>
      <a:accent4>
        <a:srgbClr val="040DBF"/>
      </a:accent4>
      <a:accent5>
        <a:srgbClr val="FEBE00"/>
      </a:accent5>
      <a:accent6>
        <a:srgbClr val="3E3D3A"/>
      </a:accent6>
      <a:hlink>
        <a:srgbClr val="FF5A00"/>
      </a:hlink>
      <a:folHlink>
        <a:srgbClr val="FEBE00"/>
      </a:folHlink>
    </a:clrScheme>
    <a:fontScheme name="Custom 87">
      <a:majorFont>
        <a:latin typeface="Aptos"/>
        <a:ea typeface=""/>
        <a:cs typeface=""/>
      </a:majorFont>
      <a:minorFont>
        <a:latin typeface="Apto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accent6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0000"/>
              <a:lumOff val="4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_Template_MAY_2017" id="{7799B578-9F8E-4A8F-8E4F-921605498BD8}" vid="{2B09DA72-C7D8-4B25-9AB5-F106100EF17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2f70ad68-4eca-4ffe-ad9d-60bfae449e23}" enabled="1" method="Standard" siteId="{b20a8f4d-0d6a-4f2e-83a2-181c968f8882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66</TotalTime>
  <Words>603</Words>
  <Application>Microsoft Office PowerPoint</Application>
  <PresentationFormat>Widescreen</PresentationFormat>
  <Paragraphs>108</Paragraphs>
  <Slides>12</Slides>
  <Notes>9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2_Platinum Equity 1_Custom Design</vt:lpstr>
      <vt:lpstr>OAUTH 2.0 &amp; OIDC</vt:lpstr>
      <vt:lpstr>Agenda</vt:lpstr>
      <vt:lpstr>Introduction to Authentication &amp; Authorization</vt:lpstr>
      <vt:lpstr>Authentication and Authorization</vt:lpstr>
      <vt:lpstr>What is OAuth 2.0?</vt:lpstr>
      <vt:lpstr>Traditional Approach</vt:lpstr>
      <vt:lpstr>OAUTH 2.0</vt:lpstr>
      <vt:lpstr>OpenID Connect (OIDC)</vt:lpstr>
      <vt:lpstr>OpenID Connect (OIDC)</vt:lpstr>
      <vt:lpstr>Differences Between OAuth 2.0 &amp; OIDC</vt:lpstr>
      <vt:lpstr>OAuth 2.0 vs OIDC</vt:lpstr>
      <vt:lpstr>Lab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SK MANAGEMENT SYSTEM</dc:title>
  <dc:creator>Jeffery Arthur Afutu</dc:creator>
  <cp:lastModifiedBy>Jeffery Arthur Afutu</cp:lastModifiedBy>
  <cp:revision>50</cp:revision>
  <dcterms:created xsi:type="dcterms:W3CDTF">2025-02-06T18:43:59Z</dcterms:created>
  <dcterms:modified xsi:type="dcterms:W3CDTF">2025-06-11T15:08:58Z</dcterms:modified>
</cp:coreProperties>
</file>